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  <p:sldMasterId id="2147483828" r:id="rId5"/>
  </p:sldMasterIdLst>
  <p:notesMasterIdLst>
    <p:notesMasterId r:id="rId76"/>
  </p:notesMasterIdLst>
  <p:sldIdLst>
    <p:sldId id="2134808265" r:id="rId6"/>
    <p:sldId id="2134808281" r:id="rId7"/>
    <p:sldId id="2134808266" r:id="rId8"/>
    <p:sldId id="2134808267" r:id="rId9"/>
    <p:sldId id="2134808443" r:id="rId10"/>
    <p:sldId id="2134808284" r:id="rId11"/>
    <p:sldId id="2134808438" r:id="rId12"/>
    <p:sldId id="2134808268" r:id="rId13"/>
    <p:sldId id="2134806282" r:id="rId14"/>
    <p:sldId id="2134808270" r:id="rId15"/>
    <p:sldId id="2134808271" r:id="rId16"/>
    <p:sldId id="2134808285" r:id="rId17"/>
    <p:sldId id="2134808273" r:id="rId18"/>
    <p:sldId id="2134808278" r:id="rId19"/>
    <p:sldId id="2134807223" r:id="rId20"/>
    <p:sldId id="2134808843" r:id="rId21"/>
    <p:sldId id="2134807776" r:id="rId22"/>
    <p:sldId id="2134808846" r:id="rId23"/>
    <p:sldId id="2134808882" r:id="rId24"/>
    <p:sldId id="2134808844" r:id="rId25"/>
    <p:sldId id="2134808848" r:id="rId26"/>
    <p:sldId id="2134808850" r:id="rId27"/>
    <p:sldId id="2134808129" r:id="rId28"/>
    <p:sldId id="2134808385" r:id="rId29"/>
    <p:sldId id="2134808879" r:id="rId30"/>
    <p:sldId id="2147482352" r:id="rId31"/>
    <p:sldId id="2134808881" r:id="rId32"/>
    <p:sldId id="2147482353" r:id="rId33"/>
    <p:sldId id="2134808849" r:id="rId34"/>
    <p:sldId id="2134808887" r:id="rId35"/>
    <p:sldId id="2134808888" r:id="rId36"/>
    <p:sldId id="2134808889" r:id="rId37"/>
    <p:sldId id="2147482354" r:id="rId38"/>
    <p:sldId id="2134808890" r:id="rId39"/>
    <p:sldId id="2134808891" r:id="rId40"/>
    <p:sldId id="2134808892" r:id="rId41"/>
    <p:sldId id="2134808863" r:id="rId42"/>
    <p:sldId id="2134808866" r:id="rId43"/>
    <p:sldId id="2134808893" r:id="rId44"/>
    <p:sldId id="2134808894" r:id="rId45"/>
    <p:sldId id="2134808895" r:id="rId46"/>
    <p:sldId id="2134808896" r:id="rId47"/>
    <p:sldId id="2134808897" r:id="rId48"/>
    <p:sldId id="2134808898" r:id="rId49"/>
    <p:sldId id="2134808871" r:id="rId50"/>
    <p:sldId id="2147482355" r:id="rId51"/>
    <p:sldId id="2147482356" r:id="rId52"/>
    <p:sldId id="2147482357" r:id="rId53"/>
    <p:sldId id="2147482359" r:id="rId54"/>
    <p:sldId id="2147482360" r:id="rId55"/>
    <p:sldId id="2147482361" r:id="rId56"/>
    <p:sldId id="2147482358" r:id="rId57"/>
    <p:sldId id="2134808626" r:id="rId58"/>
    <p:sldId id="2134808924" r:id="rId59"/>
    <p:sldId id="2134808923" r:id="rId60"/>
    <p:sldId id="2134808927" r:id="rId61"/>
    <p:sldId id="2134808257" r:id="rId62"/>
    <p:sldId id="2134808258" r:id="rId63"/>
    <p:sldId id="2134808259" r:id="rId64"/>
    <p:sldId id="2134808845" r:id="rId65"/>
    <p:sldId id="2134808837" r:id="rId66"/>
    <p:sldId id="2134808838" r:id="rId67"/>
    <p:sldId id="2134808839" r:id="rId68"/>
    <p:sldId id="2134808248" r:id="rId69"/>
    <p:sldId id="2147482351" r:id="rId70"/>
    <p:sldId id="2134808250" r:id="rId71"/>
    <p:sldId id="2134808805" r:id="rId72"/>
    <p:sldId id="2134808775" r:id="rId73"/>
    <p:sldId id="2134808474" r:id="rId74"/>
    <p:sldId id="2147482339" r:id="rId75"/>
  </p:sldIdLst>
  <p:sldSz cx="13716000" cy="10287000"/>
  <p:notesSz cx="6858000" cy="9144000"/>
  <p:embeddedFontLst>
    <p:embeddedFont>
      <p:font typeface="Cambria" panose="02040503050406030204" pitchFamily="18" charset="0"/>
      <p:regular r:id="rId77"/>
      <p:bold r:id="rId78"/>
      <p:italic r:id="rId79"/>
      <p:boldItalic r:id="rId80"/>
    </p:embeddedFont>
    <p:embeddedFont>
      <p:font typeface="Carelia" panose="020B0604020202020204" charset="0"/>
      <p:regular r:id="rId81"/>
    </p:embeddedFont>
    <p:embeddedFont>
      <p:font typeface="Dosis" pitchFamily="2" charset="0"/>
      <p:regular r:id="rId82"/>
      <p:bold r:id="rId83"/>
    </p:embeddedFont>
    <p:embeddedFont>
      <p:font typeface="Dosis Bold"/>
      <p:regular r:id="rId84"/>
      <p:bold r:id="rId85"/>
    </p:embeddedFont>
    <p:embeddedFont>
      <p:font typeface="KG Primary Penmanship 2" panose="020B0604020202020204" charset="0"/>
      <p:regular r:id="rId86"/>
    </p:embeddedFont>
    <p:embeddedFont>
      <p:font typeface="Montserrat" panose="00000500000000000000" pitchFamily="2" charset="0"/>
      <p:regular r:id="rId87"/>
      <p:bold r:id="rId88"/>
      <p:italic r:id="rId89"/>
      <p:boldItalic r:id="rId90"/>
    </p:embeddedFont>
    <p:embeddedFont>
      <p:font typeface="Traditional Arabic" panose="02020603050405020304" pitchFamily="18" charset="-78"/>
      <p:regular r:id="rId91"/>
      <p:bold r:id="rId92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106584"/>
    <a:srgbClr val="FDEADA"/>
    <a:srgbClr val="FFFFFF"/>
    <a:srgbClr val="F7F1BD"/>
    <a:srgbClr val="106585"/>
    <a:srgbClr val="426C7C"/>
    <a:srgbClr val="E46C0A"/>
    <a:srgbClr val="DC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272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238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font" Target="fonts/font8.fntdata"/><Relationship Id="rId89" Type="http://schemas.openxmlformats.org/officeDocument/2006/relationships/font" Target="fonts/font13.fntdata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font" Target="fonts/font3.fntdata"/><Relationship Id="rId5" Type="http://schemas.openxmlformats.org/officeDocument/2006/relationships/slideMaster" Target="slideMasters/slideMaster5.xml"/><Relationship Id="rId90" Type="http://schemas.openxmlformats.org/officeDocument/2006/relationships/font" Target="fonts/font14.fntdata"/><Relationship Id="rId95" Type="http://schemas.openxmlformats.org/officeDocument/2006/relationships/theme" Target="theme/theme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font" Target="fonts/font4.fntdata"/><Relationship Id="rId85" Type="http://schemas.openxmlformats.org/officeDocument/2006/relationships/font" Target="fonts/font9.fntdata"/><Relationship Id="rId9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font" Target="fonts/font7.fntdata"/><Relationship Id="rId88" Type="http://schemas.openxmlformats.org/officeDocument/2006/relationships/font" Target="fonts/font12.fntdata"/><Relationship Id="rId91" Type="http://schemas.openxmlformats.org/officeDocument/2006/relationships/font" Target="fonts/font15.fntdata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font" Target="fonts/font2.fntdata"/><Relationship Id="rId81" Type="http://schemas.openxmlformats.org/officeDocument/2006/relationships/font" Target="fonts/font5.fntdata"/><Relationship Id="rId86" Type="http://schemas.openxmlformats.org/officeDocument/2006/relationships/font" Target="fonts/font10.fntdata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font" Target="fonts/font1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font" Target="fonts/font11.fntdata"/><Relationship Id="rId61" Type="http://schemas.openxmlformats.org/officeDocument/2006/relationships/slide" Target="slides/slide56.xml"/><Relationship Id="rId82" Type="http://schemas.openxmlformats.org/officeDocument/2006/relationships/font" Target="fonts/font6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7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7422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1114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1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6305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1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1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6166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69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8559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770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7640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73051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435101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7658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478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5438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39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39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0614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4225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1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1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1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1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61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196002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2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9.svg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7.svg"/><Relationship Id="rId10" Type="http://schemas.openxmlformats.org/officeDocument/2006/relationships/tags" Target="../tags/tag11.xml"/><Relationship Id="rId19" Type="http://schemas.openxmlformats.org/officeDocument/2006/relationships/image" Target="../media/image11.sv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4.xml"/><Relationship Id="rId7" Type="http://schemas.openxmlformats.org/officeDocument/2006/relationships/image" Target="../media/image5.jpe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6.xml"/><Relationship Id="rId10" Type="http://schemas.openxmlformats.org/officeDocument/2006/relationships/image" Target="../media/image8.png"/><Relationship Id="rId4" Type="http://schemas.openxmlformats.org/officeDocument/2006/relationships/tags" Target="../tags/tag105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image" Target="../media/image36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image" Target="../media/image16.svg"/><Relationship Id="rId5" Type="http://schemas.openxmlformats.org/officeDocument/2006/relationships/tags" Target="../tags/tag111.xml"/><Relationship Id="rId10" Type="http://schemas.openxmlformats.org/officeDocument/2006/relationships/image" Target="../media/image15.png"/><Relationship Id="rId4" Type="http://schemas.openxmlformats.org/officeDocument/2006/relationships/tags" Target="../tags/tag110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16.sv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5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5.jpeg"/><Relationship Id="rId5" Type="http://schemas.openxmlformats.org/officeDocument/2006/relationships/tags" Target="../tags/tag118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5.xml"/><Relationship Id="rId7" Type="http://schemas.openxmlformats.org/officeDocument/2006/relationships/image" Target="../media/image5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7.xml"/><Relationship Id="rId10" Type="http://schemas.openxmlformats.org/officeDocument/2006/relationships/image" Target="../media/image8.png"/><Relationship Id="rId4" Type="http://schemas.openxmlformats.org/officeDocument/2006/relationships/tags" Target="../tags/tag126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image" Target="../media/image16.svg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tags" Target="../tags/tag156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image" Target="../media/image15.png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image" Target="../media/image5.jpeg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image" Target="../media/image37.png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6.sv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image" Target="../media/image15.png"/><Relationship Id="rId5" Type="http://schemas.openxmlformats.org/officeDocument/2006/relationships/tags" Target="../tags/tag161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0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7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image" Target="../media/image8.png"/><Relationship Id="rId5" Type="http://schemas.openxmlformats.org/officeDocument/2006/relationships/tags" Target="../tags/tag169.xml"/><Relationship Id="rId10" Type="http://schemas.openxmlformats.org/officeDocument/2006/relationships/image" Target="../media/image7.svg"/><Relationship Id="rId4" Type="http://schemas.openxmlformats.org/officeDocument/2006/relationships/tags" Target="../tags/tag168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image" Target="../media/image29.svg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image" Target="../media/image15.png"/><Relationship Id="rId2" Type="http://schemas.openxmlformats.org/officeDocument/2006/relationships/tags" Target="../tags/tag172.xml"/><Relationship Id="rId16" Type="http://schemas.openxmlformats.org/officeDocument/2006/relationships/image" Target="../media/image42.png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image" Target="../media/image5.jpeg"/><Relationship Id="rId5" Type="http://schemas.openxmlformats.org/officeDocument/2006/relationships/tags" Target="../tags/tag175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image" Target="../media/image43.png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12" Type="http://schemas.openxmlformats.org/officeDocument/2006/relationships/image" Target="../media/image19.sv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image" Target="../media/image18.png"/><Relationship Id="rId5" Type="http://schemas.openxmlformats.org/officeDocument/2006/relationships/tags" Target="../tags/tag184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3.xml"/><Relationship Id="rId9" Type="http://schemas.openxmlformats.org/officeDocument/2006/relationships/tags" Target="../tags/tag18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1.xml"/><Relationship Id="rId7" Type="http://schemas.openxmlformats.org/officeDocument/2006/relationships/image" Target="../media/image18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3.xml"/><Relationship Id="rId4" Type="http://schemas.openxmlformats.org/officeDocument/2006/relationships/tags" Target="../tags/tag192.xml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8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7.svg"/><Relationship Id="rId2" Type="http://schemas.openxmlformats.org/officeDocument/2006/relationships/tags" Target="../tags/tag14.xml"/><Relationship Id="rId16" Type="http://schemas.openxmlformats.org/officeDocument/2006/relationships/image" Target="../media/image14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6.png"/><Relationship Id="rId5" Type="http://schemas.openxmlformats.org/officeDocument/2006/relationships/tags" Target="../tags/tag17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9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image" Target="../media/image8.png"/><Relationship Id="rId5" Type="http://schemas.openxmlformats.org/officeDocument/2006/relationships/tags" Target="../tags/tag198.xml"/><Relationship Id="rId10" Type="http://schemas.openxmlformats.org/officeDocument/2006/relationships/image" Target="../media/image7.svg"/><Relationship Id="rId4" Type="http://schemas.openxmlformats.org/officeDocument/2006/relationships/tags" Target="../tags/tag197.xml"/><Relationship Id="rId9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16.sv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5.png"/><Relationship Id="rId2" Type="http://schemas.openxmlformats.org/officeDocument/2006/relationships/tags" Target="../tags/tag201.xml"/><Relationship Id="rId16" Type="http://schemas.openxmlformats.org/officeDocument/2006/relationships/image" Target="../media/image42.png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5.jpeg"/><Relationship Id="rId5" Type="http://schemas.openxmlformats.org/officeDocument/2006/relationships/tags" Target="../tags/tag204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image" Target="../media/image19.svg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18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213.xml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image" Target="../media/image18.png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20.xml"/><Relationship Id="rId16" Type="http://schemas.openxmlformats.org/officeDocument/2006/relationships/image" Target="../media/image46.png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image" Target="../media/image45.png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image" Target="../media/image19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17" Type="http://schemas.openxmlformats.org/officeDocument/2006/relationships/image" Target="../media/image46.png"/><Relationship Id="rId2" Type="http://schemas.openxmlformats.org/officeDocument/2006/relationships/tags" Target="../tags/tag231.xml"/><Relationship Id="rId16" Type="http://schemas.openxmlformats.org/officeDocument/2006/relationships/image" Target="../media/image47.jpeg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5" Type="http://schemas.openxmlformats.org/officeDocument/2006/relationships/tags" Target="../tags/tag234.xml"/><Relationship Id="rId15" Type="http://schemas.openxmlformats.org/officeDocument/2006/relationships/image" Target="../media/image19.svg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46.png"/><Relationship Id="rId2" Type="http://schemas.openxmlformats.org/officeDocument/2006/relationships/tags" Target="../tags/tag243.xml"/><Relationship Id="rId16" Type="http://schemas.openxmlformats.org/officeDocument/2006/relationships/image" Target="../media/image47.jpeg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image" Target="../media/image19.svg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image" Target="../media/image18.png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55.xml"/><Relationship Id="rId16" Type="http://schemas.openxmlformats.org/officeDocument/2006/relationships/image" Target="../media/image48.png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5" Type="http://schemas.openxmlformats.org/officeDocument/2006/relationships/tags" Target="../tags/tag258.xml"/><Relationship Id="rId15" Type="http://schemas.openxmlformats.org/officeDocument/2006/relationships/image" Target="../media/image45.png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image" Target="../media/image19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48.png"/><Relationship Id="rId2" Type="http://schemas.openxmlformats.org/officeDocument/2006/relationships/tags" Target="../tags/tag266.xml"/><Relationship Id="rId16" Type="http://schemas.openxmlformats.org/officeDocument/2006/relationships/image" Target="../media/image47.jpeg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image" Target="../media/image19.svg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79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image" Target="../media/image48.png"/><Relationship Id="rId5" Type="http://schemas.openxmlformats.org/officeDocument/2006/relationships/tags" Target="../tags/tag281.xml"/><Relationship Id="rId10" Type="http://schemas.openxmlformats.org/officeDocument/2006/relationships/image" Target="../media/image47.jpeg"/><Relationship Id="rId4" Type="http://schemas.openxmlformats.org/officeDocument/2006/relationships/tags" Target="../tags/tag280.xml"/><Relationship Id="rId9" Type="http://schemas.openxmlformats.org/officeDocument/2006/relationships/image" Target="../media/image19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image" Target="../media/image48.png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image" Target="../media/image47.jpeg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image" Target="../media/image19.svg"/><Relationship Id="rId5" Type="http://schemas.openxmlformats.org/officeDocument/2006/relationships/tags" Target="../tags/tag287.xml"/><Relationship Id="rId10" Type="http://schemas.openxmlformats.org/officeDocument/2006/relationships/image" Target="../media/image18.png"/><Relationship Id="rId4" Type="http://schemas.openxmlformats.org/officeDocument/2006/relationships/tags" Target="../tags/tag286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5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5.xml"/><Relationship Id="rId10" Type="http://schemas.openxmlformats.org/officeDocument/2006/relationships/image" Target="../media/image8.png"/><Relationship Id="rId4" Type="http://schemas.openxmlformats.org/officeDocument/2006/relationships/tags" Target="../tags/tag24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image" Target="../media/image18.png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92.xml"/><Relationship Id="rId16" Type="http://schemas.openxmlformats.org/officeDocument/2006/relationships/image" Target="../media/image49.png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image" Target="../media/image45.png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image" Target="../media/image19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04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11" Type="http://schemas.openxmlformats.org/officeDocument/2006/relationships/image" Target="../media/image49.png"/><Relationship Id="rId5" Type="http://schemas.openxmlformats.org/officeDocument/2006/relationships/tags" Target="../tags/tag306.xml"/><Relationship Id="rId10" Type="http://schemas.openxmlformats.org/officeDocument/2006/relationships/image" Target="../media/image47.jpeg"/><Relationship Id="rId4" Type="http://schemas.openxmlformats.org/officeDocument/2006/relationships/tags" Target="../tags/tag305.xml"/><Relationship Id="rId9" Type="http://schemas.openxmlformats.org/officeDocument/2006/relationships/image" Target="../media/image19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tags" Target="../tags/tag319.xml"/><Relationship Id="rId17" Type="http://schemas.openxmlformats.org/officeDocument/2006/relationships/image" Target="../media/image49.png"/><Relationship Id="rId2" Type="http://schemas.openxmlformats.org/officeDocument/2006/relationships/tags" Target="../tags/tag309.xml"/><Relationship Id="rId16" Type="http://schemas.openxmlformats.org/officeDocument/2006/relationships/image" Target="../media/image47.jpeg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8.xml"/><Relationship Id="rId5" Type="http://schemas.openxmlformats.org/officeDocument/2006/relationships/tags" Target="../tags/tag312.xml"/><Relationship Id="rId15" Type="http://schemas.openxmlformats.org/officeDocument/2006/relationships/image" Target="../media/image19.svg"/><Relationship Id="rId10" Type="http://schemas.openxmlformats.org/officeDocument/2006/relationships/tags" Target="../tags/tag317.xml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14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330.xml"/><Relationship Id="rId18" Type="http://schemas.openxmlformats.org/officeDocument/2006/relationships/image" Target="../media/image19.svg"/><Relationship Id="rId3" Type="http://schemas.openxmlformats.org/officeDocument/2006/relationships/tags" Target="../tags/tag322.xml"/><Relationship Id="rId21" Type="http://schemas.openxmlformats.org/officeDocument/2006/relationships/image" Target="../media/image51.png"/><Relationship Id="rId7" Type="http://schemas.openxmlformats.org/officeDocument/2006/relationships/tags" Target="../tags/tag326.xml"/><Relationship Id="rId12" Type="http://schemas.openxmlformats.org/officeDocument/2006/relationships/tags" Target="../tags/tag329.xml"/><Relationship Id="rId17" Type="http://schemas.openxmlformats.org/officeDocument/2006/relationships/image" Target="../media/image18.png"/><Relationship Id="rId2" Type="http://schemas.openxmlformats.org/officeDocument/2006/relationships/tags" Target="../tags/tag321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50.png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11" Type="http://schemas.openxmlformats.org/officeDocument/2006/relationships/tags" Target="../tags/tag328.xml"/><Relationship Id="rId5" Type="http://schemas.openxmlformats.org/officeDocument/2006/relationships/tags" Target="../tags/tag324.xml"/><Relationship Id="rId15" Type="http://schemas.openxmlformats.org/officeDocument/2006/relationships/tags" Target="../tags/tag332.xml"/><Relationship Id="rId10" Type="http://schemas.openxmlformats.org/officeDocument/2006/relationships/tags" Target="../tags/tag327.xml"/><Relationship Id="rId19" Type="http://schemas.openxmlformats.org/officeDocument/2006/relationships/image" Target="../media/image47.jpeg"/><Relationship Id="rId4" Type="http://schemas.openxmlformats.org/officeDocument/2006/relationships/tags" Target="../tags/tag323.xml"/><Relationship Id="rId9" Type="http://schemas.openxmlformats.org/officeDocument/2006/relationships/audio" Target="../media/media1.wav"/><Relationship Id="rId14" Type="http://schemas.openxmlformats.org/officeDocument/2006/relationships/tags" Target="../tags/tag3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13" Type="http://schemas.openxmlformats.org/officeDocument/2006/relationships/image" Target="../media/image18.png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334.xml"/><Relationship Id="rId16" Type="http://schemas.openxmlformats.org/officeDocument/2006/relationships/image" Target="../media/image52.png"/><Relationship Id="rId1" Type="http://schemas.openxmlformats.org/officeDocument/2006/relationships/tags" Target="../tags/tag333.xml"/><Relationship Id="rId6" Type="http://schemas.openxmlformats.org/officeDocument/2006/relationships/tags" Target="../tags/tag338.xml"/><Relationship Id="rId11" Type="http://schemas.openxmlformats.org/officeDocument/2006/relationships/tags" Target="../tags/tag343.xml"/><Relationship Id="rId5" Type="http://schemas.openxmlformats.org/officeDocument/2006/relationships/tags" Target="../tags/tag337.xml"/><Relationship Id="rId15" Type="http://schemas.openxmlformats.org/officeDocument/2006/relationships/image" Target="../media/image45.png"/><Relationship Id="rId10" Type="http://schemas.openxmlformats.org/officeDocument/2006/relationships/tags" Target="../tags/tag342.xml"/><Relationship Id="rId4" Type="http://schemas.openxmlformats.org/officeDocument/2006/relationships/tags" Target="../tags/tag336.xml"/><Relationship Id="rId9" Type="http://schemas.openxmlformats.org/officeDocument/2006/relationships/tags" Target="../tags/tag341.xml"/><Relationship Id="rId14" Type="http://schemas.openxmlformats.org/officeDocument/2006/relationships/image" Target="../media/image19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image" Target="../media/image52.png"/><Relationship Id="rId2" Type="http://schemas.openxmlformats.org/officeDocument/2006/relationships/tags" Target="../tags/tag345.xml"/><Relationship Id="rId16" Type="http://schemas.openxmlformats.org/officeDocument/2006/relationships/image" Target="../media/image47.jpeg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63.xml"/><Relationship Id="rId13" Type="http://schemas.openxmlformats.org/officeDocument/2006/relationships/slideLayout" Target="../slideLayouts/slideLayout29.xml"/><Relationship Id="rId3" Type="http://schemas.openxmlformats.org/officeDocument/2006/relationships/tags" Target="../tags/tag358.xml"/><Relationship Id="rId7" Type="http://schemas.openxmlformats.org/officeDocument/2006/relationships/tags" Target="../tags/tag362.xml"/><Relationship Id="rId12" Type="http://schemas.openxmlformats.org/officeDocument/2006/relationships/tags" Target="../tags/tag367.xml"/><Relationship Id="rId17" Type="http://schemas.openxmlformats.org/officeDocument/2006/relationships/image" Target="../media/image52.png"/><Relationship Id="rId2" Type="http://schemas.openxmlformats.org/officeDocument/2006/relationships/tags" Target="../tags/tag357.xml"/><Relationship Id="rId16" Type="http://schemas.openxmlformats.org/officeDocument/2006/relationships/image" Target="../media/image47.jpeg"/><Relationship Id="rId1" Type="http://schemas.openxmlformats.org/officeDocument/2006/relationships/tags" Target="../tags/tag356.xml"/><Relationship Id="rId6" Type="http://schemas.openxmlformats.org/officeDocument/2006/relationships/tags" Target="../tags/tag361.xml"/><Relationship Id="rId11" Type="http://schemas.openxmlformats.org/officeDocument/2006/relationships/tags" Target="../tags/tag366.xml"/><Relationship Id="rId5" Type="http://schemas.openxmlformats.org/officeDocument/2006/relationships/tags" Target="../tags/tag360.xml"/><Relationship Id="rId15" Type="http://schemas.openxmlformats.org/officeDocument/2006/relationships/image" Target="../media/image19.svg"/><Relationship Id="rId10" Type="http://schemas.openxmlformats.org/officeDocument/2006/relationships/tags" Target="../tags/tag365.xml"/><Relationship Id="rId4" Type="http://schemas.openxmlformats.org/officeDocument/2006/relationships/tags" Target="../tags/tag359.xml"/><Relationship Id="rId9" Type="http://schemas.openxmlformats.org/officeDocument/2006/relationships/tags" Target="../tags/tag364.xml"/><Relationship Id="rId14" Type="http://schemas.openxmlformats.org/officeDocument/2006/relationships/image" Target="../media/image1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13" Type="http://schemas.openxmlformats.org/officeDocument/2006/relationships/image" Target="../media/image49.png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12" Type="http://schemas.openxmlformats.org/officeDocument/2006/relationships/image" Target="../media/image47.jpeg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1" Type="http://schemas.openxmlformats.org/officeDocument/2006/relationships/image" Target="../media/image19.svg"/><Relationship Id="rId5" Type="http://schemas.openxmlformats.org/officeDocument/2006/relationships/tags" Target="../tags/tag372.xml"/><Relationship Id="rId10" Type="http://schemas.openxmlformats.org/officeDocument/2006/relationships/image" Target="../media/image18.png"/><Relationship Id="rId4" Type="http://schemas.openxmlformats.org/officeDocument/2006/relationships/tags" Target="../tags/tag371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5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image" Target="../media/image47.jpeg"/><Relationship Id="rId3" Type="http://schemas.openxmlformats.org/officeDocument/2006/relationships/tags" Target="../tags/tag378.xml"/><Relationship Id="rId7" Type="http://schemas.openxmlformats.org/officeDocument/2006/relationships/audio" Target="../media/media2.wav"/><Relationship Id="rId12" Type="http://schemas.openxmlformats.org/officeDocument/2006/relationships/image" Target="../media/image19.sv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microsoft.com/office/2007/relationships/media" Target="../media/media2.wav"/><Relationship Id="rId11" Type="http://schemas.openxmlformats.org/officeDocument/2006/relationships/image" Target="../media/image18.png"/><Relationship Id="rId5" Type="http://schemas.openxmlformats.org/officeDocument/2006/relationships/tags" Target="../tags/tag380.xml"/><Relationship Id="rId15" Type="http://schemas.openxmlformats.org/officeDocument/2006/relationships/image" Target="../media/image51.pn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379.xml"/><Relationship Id="rId9" Type="http://schemas.openxmlformats.org/officeDocument/2006/relationships/tags" Target="../tags/tag382.xml"/><Relationship Id="rId14" Type="http://schemas.openxmlformats.org/officeDocument/2006/relationships/image" Target="../media/image5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5.xml"/><Relationship Id="rId7" Type="http://schemas.openxmlformats.org/officeDocument/2006/relationships/image" Target="../media/image18.png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387.xml"/><Relationship Id="rId10" Type="http://schemas.openxmlformats.org/officeDocument/2006/relationships/image" Target="../media/image54.png"/><Relationship Id="rId4" Type="http://schemas.openxmlformats.org/officeDocument/2006/relationships/tags" Target="../tags/tag386.xml"/><Relationship Id="rId9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image" Target="../media/image16.svg"/><Relationship Id="rId3" Type="http://schemas.openxmlformats.org/officeDocument/2006/relationships/tags" Target="../tags/tag28.xml"/><Relationship Id="rId21" Type="http://schemas.openxmlformats.org/officeDocument/2006/relationships/image" Target="../media/image19.svg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15.png"/><Relationship Id="rId2" Type="http://schemas.openxmlformats.org/officeDocument/2006/relationships/tags" Target="../tags/tag27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5.xml"/><Relationship Id="rId19" Type="http://schemas.openxmlformats.org/officeDocument/2006/relationships/image" Target="../media/image17.png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90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image" Target="../media/image54.png"/><Relationship Id="rId5" Type="http://schemas.openxmlformats.org/officeDocument/2006/relationships/tags" Target="../tags/tag392.xml"/><Relationship Id="rId10" Type="http://schemas.openxmlformats.org/officeDocument/2006/relationships/image" Target="../media/image47.jpeg"/><Relationship Id="rId4" Type="http://schemas.openxmlformats.org/officeDocument/2006/relationships/tags" Target="../tags/tag391.xml"/><Relationship Id="rId9" Type="http://schemas.openxmlformats.org/officeDocument/2006/relationships/image" Target="../media/image19.sv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96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11" Type="http://schemas.openxmlformats.org/officeDocument/2006/relationships/image" Target="../media/image54.png"/><Relationship Id="rId5" Type="http://schemas.openxmlformats.org/officeDocument/2006/relationships/tags" Target="../tags/tag398.xml"/><Relationship Id="rId10" Type="http://schemas.openxmlformats.org/officeDocument/2006/relationships/image" Target="../media/image47.jpeg"/><Relationship Id="rId4" Type="http://schemas.openxmlformats.org/officeDocument/2006/relationships/tags" Target="../tags/tag397.xml"/><Relationship Id="rId9" Type="http://schemas.openxmlformats.org/officeDocument/2006/relationships/image" Target="../media/image19.sv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02.xml"/><Relationship Id="rId7" Type="http://schemas.openxmlformats.org/officeDocument/2006/relationships/image" Target="../media/image18.png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404.xml"/><Relationship Id="rId10" Type="http://schemas.openxmlformats.org/officeDocument/2006/relationships/image" Target="../media/image55.png"/><Relationship Id="rId4" Type="http://schemas.openxmlformats.org/officeDocument/2006/relationships/tags" Target="../tags/tag403.xml"/><Relationship Id="rId9" Type="http://schemas.openxmlformats.org/officeDocument/2006/relationships/image" Target="../media/image4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07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tags" Target="../tags/tag410.xml"/><Relationship Id="rId11" Type="http://schemas.openxmlformats.org/officeDocument/2006/relationships/image" Target="../media/image55.png"/><Relationship Id="rId5" Type="http://schemas.openxmlformats.org/officeDocument/2006/relationships/tags" Target="../tags/tag409.xml"/><Relationship Id="rId10" Type="http://schemas.openxmlformats.org/officeDocument/2006/relationships/image" Target="../media/image47.jpeg"/><Relationship Id="rId4" Type="http://schemas.openxmlformats.org/officeDocument/2006/relationships/tags" Target="../tags/tag408.xml"/><Relationship Id="rId9" Type="http://schemas.openxmlformats.org/officeDocument/2006/relationships/image" Target="../media/image19.sv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13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11" Type="http://schemas.openxmlformats.org/officeDocument/2006/relationships/image" Target="../media/image55.png"/><Relationship Id="rId5" Type="http://schemas.openxmlformats.org/officeDocument/2006/relationships/tags" Target="../tags/tag415.xml"/><Relationship Id="rId10" Type="http://schemas.openxmlformats.org/officeDocument/2006/relationships/image" Target="../media/image47.jpeg"/><Relationship Id="rId4" Type="http://schemas.openxmlformats.org/officeDocument/2006/relationships/tags" Target="../tags/tag414.xml"/><Relationship Id="rId9" Type="http://schemas.openxmlformats.org/officeDocument/2006/relationships/image" Target="../media/image19.sv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13" Type="http://schemas.openxmlformats.org/officeDocument/2006/relationships/image" Target="../media/image54.png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12" Type="http://schemas.openxmlformats.org/officeDocument/2006/relationships/image" Target="../media/image47.jpeg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image" Target="../media/image19.svg"/><Relationship Id="rId5" Type="http://schemas.openxmlformats.org/officeDocument/2006/relationships/tags" Target="../tags/tag421.xml"/><Relationship Id="rId10" Type="http://schemas.openxmlformats.org/officeDocument/2006/relationships/image" Target="../media/image18.png"/><Relationship Id="rId4" Type="http://schemas.openxmlformats.org/officeDocument/2006/relationships/tags" Target="../tags/tag420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55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7.xml"/><Relationship Id="rId7" Type="http://schemas.openxmlformats.org/officeDocument/2006/relationships/image" Target="../media/image18.png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429.xml"/><Relationship Id="rId10" Type="http://schemas.openxmlformats.org/officeDocument/2006/relationships/image" Target="../media/image56.png"/><Relationship Id="rId4" Type="http://schemas.openxmlformats.org/officeDocument/2006/relationships/tags" Target="../tags/tag428.xml"/><Relationship Id="rId9" Type="http://schemas.openxmlformats.org/officeDocument/2006/relationships/image" Target="../media/image45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32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11" Type="http://schemas.openxmlformats.org/officeDocument/2006/relationships/image" Target="../media/image56.png"/><Relationship Id="rId5" Type="http://schemas.openxmlformats.org/officeDocument/2006/relationships/tags" Target="../tags/tag434.xml"/><Relationship Id="rId10" Type="http://schemas.openxmlformats.org/officeDocument/2006/relationships/image" Target="../media/image47.jpeg"/><Relationship Id="rId4" Type="http://schemas.openxmlformats.org/officeDocument/2006/relationships/tags" Target="../tags/tag433.xml"/><Relationship Id="rId9" Type="http://schemas.openxmlformats.org/officeDocument/2006/relationships/image" Target="../media/image19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38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tags" Target="../tags/tag441.xml"/><Relationship Id="rId11" Type="http://schemas.openxmlformats.org/officeDocument/2006/relationships/image" Target="../media/image56.png"/><Relationship Id="rId5" Type="http://schemas.openxmlformats.org/officeDocument/2006/relationships/tags" Target="../tags/tag440.xml"/><Relationship Id="rId10" Type="http://schemas.openxmlformats.org/officeDocument/2006/relationships/image" Target="../media/image47.jpeg"/><Relationship Id="rId4" Type="http://schemas.openxmlformats.org/officeDocument/2006/relationships/tags" Target="../tags/tag439.xml"/><Relationship Id="rId9" Type="http://schemas.openxmlformats.org/officeDocument/2006/relationships/image" Target="../media/image19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4.xml"/><Relationship Id="rId7" Type="http://schemas.openxmlformats.org/officeDocument/2006/relationships/image" Target="../media/image18.png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446.xml"/><Relationship Id="rId10" Type="http://schemas.openxmlformats.org/officeDocument/2006/relationships/image" Target="../media/image57.png"/><Relationship Id="rId4" Type="http://schemas.openxmlformats.org/officeDocument/2006/relationships/tags" Target="../tags/tag445.xml"/><Relationship Id="rId9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21.jpeg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24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26.jpe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7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49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11" Type="http://schemas.openxmlformats.org/officeDocument/2006/relationships/image" Target="../media/image57.png"/><Relationship Id="rId5" Type="http://schemas.openxmlformats.org/officeDocument/2006/relationships/tags" Target="../tags/tag451.xml"/><Relationship Id="rId10" Type="http://schemas.openxmlformats.org/officeDocument/2006/relationships/image" Target="../media/image47.jpeg"/><Relationship Id="rId4" Type="http://schemas.openxmlformats.org/officeDocument/2006/relationships/tags" Target="../tags/tag450.xml"/><Relationship Id="rId9" Type="http://schemas.openxmlformats.org/officeDocument/2006/relationships/image" Target="../media/image19.sv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5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tags" Target="../tags/tag458.xml"/><Relationship Id="rId11" Type="http://schemas.openxmlformats.org/officeDocument/2006/relationships/image" Target="../media/image57.png"/><Relationship Id="rId5" Type="http://schemas.openxmlformats.org/officeDocument/2006/relationships/tags" Target="../tags/tag457.xml"/><Relationship Id="rId10" Type="http://schemas.openxmlformats.org/officeDocument/2006/relationships/image" Target="../media/image47.jpeg"/><Relationship Id="rId4" Type="http://schemas.openxmlformats.org/officeDocument/2006/relationships/tags" Target="../tags/tag456.xml"/><Relationship Id="rId9" Type="http://schemas.openxmlformats.org/officeDocument/2006/relationships/image" Target="../media/image19.sv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466.xml"/><Relationship Id="rId13" Type="http://schemas.openxmlformats.org/officeDocument/2006/relationships/image" Target="../media/image56.png"/><Relationship Id="rId3" Type="http://schemas.openxmlformats.org/officeDocument/2006/relationships/tags" Target="../tags/tag461.xml"/><Relationship Id="rId7" Type="http://schemas.openxmlformats.org/officeDocument/2006/relationships/tags" Target="../tags/tag465.xml"/><Relationship Id="rId12" Type="http://schemas.openxmlformats.org/officeDocument/2006/relationships/image" Target="../media/image47.jpeg"/><Relationship Id="rId2" Type="http://schemas.openxmlformats.org/officeDocument/2006/relationships/tags" Target="../tags/tag460.xml"/><Relationship Id="rId1" Type="http://schemas.openxmlformats.org/officeDocument/2006/relationships/tags" Target="../tags/tag459.xml"/><Relationship Id="rId6" Type="http://schemas.openxmlformats.org/officeDocument/2006/relationships/tags" Target="../tags/tag464.xml"/><Relationship Id="rId11" Type="http://schemas.openxmlformats.org/officeDocument/2006/relationships/image" Target="../media/image19.svg"/><Relationship Id="rId5" Type="http://schemas.openxmlformats.org/officeDocument/2006/relationships/tags" Target="../tags/tag463.xml"/><Relationship Id="rId10" Type="http://schemas.openxmlformats.org/officeDocument/2006/relationships/image" Target="../media/image18.png"/><Relationship Id="rId4" Type="http://schemas.openxmlformats.org/officeDocument/2006/relationships/tags" Target="../tags/tag462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5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46.png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12" Type="http://schemas.openxmlformats.org/officeDocument/2006/relationships/tags" Target="../tags/tag478.xml"/><Relationship Id="rId17" Type="http://schemas.openxmlformats.org/officeDocument/2006/relationships/image" Target="../media/image48.png"/><Relationship Id="rId2" Type="http://schemas.openxmlformats.org/officeDocument/2006/relationships/tags" Target="../tags/tag468.xml"/><Relationship Id="rId16" Type="http://schemas.openxmlformats.org/officeDocument/2006/relationships/image" Target="../media/image23.png"/><Relationship Id="rId20" Type="http://schemas.openxmlformats.org/officeDocument/2006/relationships/image" Target="../media/image55.png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11" Type="http://schemas.openxmlformats.org/officeDocument/2006/relationships/tags" Target="../tags/tag477.xml"/><Relationship Id="rId5" Type="http://schemas.openxmlformats.org/officeDocument/2006/relationships/tags" Target="../tags/tag471.xml"/><Relationship Id="rId15" Type="http://schemas.openxmlformats.org/officeDocument/2006/relationships/image" Target="../media/image19.svg"/><Relationship Id="rId10" Type="http://schemas.openxmlformats.org/officeDocument/2006/relationships/tags" Target="../tags/tag476.xml"/><Relationship Id="rId19" Type="http://schemas.openxmlformats.org/officeDocument/2006/relationships/image" Target="../media/image54.png"/><Relationship Id="rId4" Type="http://schemas.openxmlformats.org/officeDocument/2006/relationships/tags" Target="../tags/tag470.xml"/><Relationship Id="rId9" Type="http://schemas.openxmlformats.org/officeDocument/2006/relationships/tags" Target="../tags/tag475.xml"/><Relationship Id="rId14" Type="http://schemas.openxmlformats.org/officeDocument/2006/relationships/image" Target="../media/image1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486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52.png"/><Relationship Id="rId3" Type="http://schemas.openxmlformats.org/officeDocument/2006/relationships/tags" Target="../tags/tag481.xml"/><Relationship Id="rId7" Type="http://schemas.openxmlformats.org/officeDocument/2006/relationships/tags" Target="../tags/tag485.xml"/><Relationship Id="rId12" Type="http://schemas.openxmlformats.org/officeDocument/2006/relationships/tags" Target="../tags/tag490.xml"/><Relationship Id="rId17" Type="http://schemas.openxmlformats.org/officeDocument/2006/relationships/image" Target="../media/image49.png"/><Relationship Id="rId2" Type="http://schemas.openxmlformats.org/officeDocument/2006/relationships/tags" Target="../tags/tag480.xml"/><Relationship Id="rId16" Type="http://schemas.openxmlformats.org/officeDocument/2006/relationships/image" Target="../media/image23.png"/><Relationship Id="rId20" Type="http://schemas.openxmlformats.org/officeDocument/2006/relationships/image" Target="../media/image57.png"/><Relationship Id="rId1" Type="http://schemas.openxmlformats.org/officeDocument/2006/relationships/tags" Target="../tags/tag479.xml"/><Relationship Id="rId6" Type="http://schemas.openxmlformats.org/officeDocument/2006/relationships/tags" Target="../tags/tag484.xml"/><Relationship Id="rId11" Type="http://schemas.openxmlformats.org/officeDocument/2006/relationships/tags" Target="../tags/tag489.xml"/><Relationship Id="rId5" Type="http://schemas.openxmlformats.org/officeDocument/2006/relationships/tags" Target="../tags/tag483.xml"/><Relationship Id="rId15" Type="http://schemas.openxmlformats.org/officeDocument/2006/relationships/image" Target="../media/image19.svg"/><Relationship Id="rId10" Type="http://schemas.openxmlformats.org/officeDocument/2006/relationships/tags" Target="../tags/tag488.xml"/><Relationship Id="rId19" Type="http://schemas.openxmlformats.org/officeDocument/2006/relationships/image" Target="../media/image56.png"/><Relationship Id="rId4" Type="http://schemas.openxmlformats.org/officeDocument/2006/relationships/tags" Target="../tags/tag482.xml"/><Relationship Id="rId9" Type="http://schemas.openxmlformats.org/officeDocument/2006/relationships/tags" Target="../tags/tag487.xml"/><Relationship Id="rId14" Type="http://schemas.openxmlformats.org/officeDocument/2006/relationships/image" Target="../media/image18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498.xml"/><Relationship Id="rId13" Type="http://schemas.openxmlformats.org/officeDocument/2006/relationships/image" Target="../media/image48.png"/><Relationship Id="rId3" Type="http://schemas.openxmlformats.org/officeDocument/2006/relationships/tags" Target="../tags/tag493.xml"/><Relationship Id="rId7" Type="http://schemas.openxmlformats.org/officeDocument/2006/relationships/tags" Target="../tags/tag497.xml"/><Relationship Id="rId12" Type="http://schemas.openxmlformats.org/officeDocument/2006/relationships/image" Target="../media/image22.png"/><Relationship Id="rId2" Type="http://schemas.openxmlformats.org/officeDocument/2006/relationships/tags" Target="../tags/tag492.xml"/><Relationship Id="rId16" Type="http://schemas.openxmlformats.org/officeDocument/2006/relationships/image" Target="../media/image55.png"/><Relationship Id="rId1" Type="http://schemas.openxmlformats.org/officeDocument/2006/relationships/tags" Target="../tags/tag491.xml"/><Relationship Id="rId6" Type="http://schemas.openxmlformats.org/officeDocument/2006/relationships/tags" Target="../tags/tag496.xml"/><Relationship Id="rId11" Type="http://schemas.openxmlformats.org/officeDocument/2006/relationships/image" Target="../media/image19.svg"/><Relationship Id="rId5" Type="http://schemas.openxmlformats.org/officeDocument/2006/relationships/tags" Target="../tags/tag495.xml"/><Relationship Id="rId15" Type="http://schemas.openxmlformats.org/officeDocument/2006/relationships/image" Target="../media/image54.png"/><Relationship Id="rId10" Type="http://schemas.openxmlformats.org/officeDocument/2006/relationships/image" Target="../media/image18.png"/><Relationship Id="rId4" Type="http://schemas.openxmlformats.org/officeDocument/2006/relationships/tags" Target="../tags/tag49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46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506.xml"/><Relationship Id="rId13" Type="http://schemas.openxmlformats.org/officeDocument/2006/relationships/image" Target="../media/image22.png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12" Type="http://schemas.openxmlformats.org/officeDocument/2006/relationships/image" Target="../media/image19.svg"/><Relationship Id="rId17" Type="http://schemas.openxmlformats.org/officeDocument/2006/relationships/image" Target="../media/image57.png"/><Relationship Id="rId2" Type="http://schemas.openxmlformats.org/officeDocument/2006/relationships/tags" Target="../tags/tag500.xml"/><Relationship Id="rId16" Type="http://schemas.openxmlformats.org/officeDocument/2006/relationships/image" Target="../media/image56.png"/><Relationship Id="rId1" Type="http://schemas.openxmlformats.org/officeDocument/2006/relationships/tags" Target="../tags/tag499.xml"/><Relationship Id="rId6" Type="http://schemas.openxmlformats.org/officeDocument/2006/relationships/tags" Target="../tags/tag504.xml"/><Relationship Id="rId11" Type="http://schemas.openxmlformats.org/officeDocument/2006/relationships/image" Target="../media/image18.png"/><Relationship Id="rId5" Type="http://schemas.openxmlformats.org/officeDocument/2006/relationships/tags" Target="../tags/tag503.xml"/><Relationship Id="rId15" Type="http://schemas.openxmlformats.org/officeDocument/2006/relationships/image" Target="../media/image52.pn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502.xml"/><Relationship Id="rId9" Type="http://schemas.openxmlformats.org/officeDocument/2006/relationships/tags" Target="../tags/tag507.xml"/><Relationship Id="rId14" Type="http://schemas.openxmlformats.org/officeDocument/2006/relationships/image" Target="../media/image49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515.xml"/><Relationship Id="rId13" Type="http://schemas.openxmlformats.org/officeDocument/2006/relationships/tags" Target="../tags/tag520.xml"/><Relationship Id="rId18" Type="http://schemas.openxmlformats.org/officeDocument/2006/relationships/image" Target="../media/image37.png"/><Relationship Id="rId3" Type="http://schemas.openxmlformats.org/officeDocument/2006/relationships/tags" Target="../tags/tag510.xml"/><Relationship Id="rId7" Type="http://schemas.openxmlformats.org/officeDocument/2006/relationships/tags" Target="../tags/tag514.xml"/><Relationship Id="rId12" Type="http://schemas.openxmlformats.org/officeDocument/2006/relationships/tags" Target="../tags/tag519.xml"/><Relationship Id="rId17" Type="http://schemas.openxmlformats.org/officeDocument/2006/relationships/image" Target="../media/image58.jpeg"/><Relationship Id="rId2" Type="http://schemas.openxmlformats.org/officeDocument/2006/relationships/tags" Target="../tags/tag509.xml"/><Relationship Id="rId16" Type="http://schemas.openxmlformats.org/officeDocument/2006/relationships/image" Target="../media/image19.svg"/><Relationship Id="rId1" Type="http://schemas.openxmlformats.org/officeDocument/2006/relationships/tags" Target="../tags/tag508.xml"/><Relationship Id="rId6" Type="http://schemas.openxmlformats.org/officeDocument/2006/relationships/tags" Target="../tags/tag513.xml"/><Relationship Id="rId11" Type="http://schemas.openxmlformats.org/officeDocument/2006/relationships/tags" Target="../tags/tag518.xml"/><Relationship Id="rId5" Type="http://schemas.openxmlformats.org/officeDocument/2006/relationships/tags" Target="../tags/tag512.xml"/><Relationship Id="rId15" Type="http://schemas.openxmlformats.org/officeDocument/2006/relationships/image" Target="../media/image18.png"/><Relationship Id="rId10" Type="http://schemas.openxmlformats.org/officeDocument/2006/relationships/tags" Target="../tags/tag517.xml"/><Relationship Id="rId4" Type="http://schemas.openxmlformats.org/officeDocument/2006/relationships/tags" Target="../tags/tag511.xml"/><Relationship Id="rId9" Type="http://schemas.openxmlformats.org/officeDocument/2006/relationships/tags" Target="../tags/tag516.xml"/><Relationship Id="rId14" Type="http://schemas.openxmlformats.org/officeDocument/2006/relationships/slideLayout" Target="../slideLayouts/slideLayout29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528.xml"/><Relationship Id="rId13" Type="http://schemas.openxmlformats.org/officeDocument/2006/relationships/tags" Target="../tags/tag533.xml"/><Relationship Id="rId18" Type="http://schemas.openxmlformats.org/officeDocument/2006/relationships/tags" Target="../tags/tag538.xml"/><Relationship Id="rId26" Type="http://schemas.openxmlformats.org/officeDocument/2006/relationships/image" Target="../media/image47.jpeg"/><Relationship Id="rId3" Type="http://schemas.openxmlformats.org/officeDocument/2006/relationships/tags" Target="../tags/tag523.xml"/><Relationship Id="rId21" Type="http://schemas.openxmlformats.org/officeDocument/2006/relationships/slideLayout" Target="../slideLayouts/slideLayout29.xml"/><Relationship Id="rId7" Type="http://schemas.openxmlformats.org/officeDocument/2006/relationships/tags" Target="../tags/tag527.xml"/><Relationship Id="rId12" Type="http://schemas.openxmlformats.org/officeDocument/2006/relationships/tags" Target="../tags/tag532.xml"/><Relationship Id="rId17" Type="http://schemas.openxmlformats.org/officeDocument/2006/relationships/tags" Target="../tags/tag537.xml"/><Relationship Id="rId25" Type="http://schemas.openxmlformats.org/officeDocument/2006/relationships/image" Target="../media/image60.jpeg"/><Relationship Id="rId2" Type="http://schemas.openxmlformats.org/officeDocument/2006/relationships/tags" Target="../tags/tag522.xml"/><Relationship Id="rId16" Type="http://schemas.openxmlformats.org/officeDocument/2006/relationships/tags" Target="../tags/tag536.xml"/><Relationship Id="rId20" Type="http://schemas.openxmlformats.org/officeDocument/2006/relationships/tags" Target="../tags/tag540.xml"/><Relationship Id="rId1" Type="http://schemas.openxmlformats.org/officeDocument/2006/relationships/tags" Target="../tags/tag521.xml"/><Relationship Id="rId6" Type="http://schemas.openxmlformats.org/officeDocument/2006/relationships/tags" Target="../tags/tag526.xml"/><Relationship Id="rId11" Type="http://schemas.openxmlformats.org/officeDocument/2006/relationships/tags" Target="../tags/tag531.xml"/><Relationship Id="rId24" Type="http://schemas.openxmlformats.org/officeDocument/2006/relationships/image" Target="../media/image59.jpeg"/><Relationship Id="rId5" Type="http://schemas.openxmlformats.org/officeDocument/2006/relationships/tags" Target="../tags/tag525.xml"/><Relationship Id="rId15" Type="http://schemas.openxmlformats.org/officeDocument/2006/relationships/tags" Target="../tags/tag535.xml"/><Relationship Id="rId23" Type="http://schemas.openxmlformats.org/officeDocument/2006/relationships/image" Target="../media/image19.svg"/><Relationship Id="rId10" Type="http://schemas.openxmlformats.org/officeDocument/2006/relationships/tags" Target="../tags/tag530.xml"/><Relationship Id="rId19" Type="http://schemas.openxmlformats.org/officeDocument/2006/relationships/tags" Target="../tags/tag539.xml"/><Relationship Id="rId4" Type="http://schemas.openxmlformats.org/officeDocument/2006/relationships/tags" Target="../tags/tag524.xml"/><Relationship Id="rId9" Type="http://schemas.openxmlformats.org/officeDocument/2006/relationships/tags" Target="../tags/tag529.xml"/><Relationship Id="rId14" Type="http://schemas.openxmlformats.org/officeDocument/2006/relationships/tags" Target="../tags/tag534.xml"/><Relationship Id="rId22" Type="http://schemas.openxmlformats.org/officeDocument/2006/relationships/image" Target="../media/image18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43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tags" Target="../tags/tag546.xml"/><Relationship Id="rId11" Type="http://schemas.openxmlformats.org/officeDocument/2006/relationships/image" Target="../media/image62.png"/><Relationship Id="rId5" Type="http://schemas.openxmlformats.org/officeDocument/2006/relationships/tags" Target="../tags/tag545.xml"/><Relationship Id="rId10" Type="http://schemas.openxmlformats.org/officeDocument/2006/relationships/image" Target="../media/image61.jpeg"/><Relationship Id="rId4" Type="http://schemas.openxmlformats.org/officeDocument/2006/relationships/tags" Target="../tags/tag544.xml"/><Relationship Id="rId9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image" Target="../media/image13.png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image" Target="../media/image29.svg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image" Target="../media/image32.pn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image" Target="../media/image15.png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54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11" Type="http://schemas.openxmlformats.org/officeDocument/2006/relationships/image" Target="../media/image8.png"/><Relationship Id="rId5" Type="http://schemas.openxmlformats.org/officeDocument/2006/relationships/tags" Target="../tags/tag551.xml"/><Relationship Id="rId10" Type="http://schemas.openxmlformats.org/officeDocument/2006/relationships/image" Target="../media/image7.svg"/><Relationship Id="rId4" Type="http://schemas.openxmlformats.org/officeDocument/2006/relationships/tags" Target="../tags/tag550.xml"/><Relationship Id="rId9" Type="http://schemas.openxmlformats.org/officeDocument/2006/relationships/image" Target="../media/image6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image" Target="../media/image16.svg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image" Target="../media/image15.png"/><Relationship Id="rId2" Type="http://schemas.openxmlformats.org/officeDocument/2006/relationships/tags" Target="../tags/tag554.xml"/><Relationship Id="rId16" Type="http://schemas.openxmlformats.org/officeDocument/2006/relationships/image" Target="../media/image42.png"/><Relationship Id="rId1" Type="http://schemas.openxmlformats.org/officeDocument/2006/relationships/tags" Target="../tags/tag553.xml"/><Relationship Id="rId6" Type="http://schemas.openxmlformats.org/officeDocument/2006/relationships/tags" Target="../tags/tag558.xml"/><Relationship Id="rId11" Type="http://schemas.openxmlformats.org/officeDocument/2006/relationships/image" Target="../media/image5.jpeg"/><Relationship Id="rId5" Type="http://schemas.openxmlformats.org/officeDocument/2006/relationships/tags" Target="../tags/tag557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40.xml"/><Relationship Id="rId4" Type="http://schemas.openxmlformats.org/officeDocument/2006/relationships/tags" Target="../tags/tag556.xml"/><Relationship Id="rId9" Type="http://schemas.openxmlformats.org/officeDocument/2006/relationships/tags" Target="../tags/tag561.xml"/><Relationship Id="rId14" Type="http://schemas.openxmlformats.org/officeDocument/2006/relationships/image" Target="../media/image40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569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65.png"/><Relationship Id="rId3" Type="http://schemas.openxmlformats.org/officeDocument/2006/relationships/tags" Target="../tags/tag564.xml"/><Relationship Id="rId7" Type="http://schemas.openxmlformats.org/officeDocument/2006/relationships/tags" Target="../tags/tag568.xml"/><Relationship Id="rId12" Type="http://schemas.openxmlformats.org/officeDocument/2006/relationships/tags" Target="../tags/tag573.xml"/><Relationship Id="rId17" Type="http://schemas.openxmlformats.org/officeDocument/2006/relationships/image" Target="../media/image64.PNG"/><Relationship Id="rId2" Type="http://schemas.openxmlformats.org/officeDocument/2006/relationships/tags" Target="../tags/tag563.xml"/><Relationship Id="rId16" Type="http://schemas.openxmlformats.org/officeDocument/2006/relationships/image" Target="../media/image63.png"/><Relationship Id="rId1" Type="http://schemas.openxmlformats.org/officeDocument/2006/relationships/tags" Target="../tags/tag562.xml"/><Relationship Id="rId6" Type="http://schemas.openxmlformats.org/officeDocument/2006/relationships/tags" Target="../tags/tag567.xml"/><Relationship Id="rId11" Type="http://schemas.openxmlformats.org/officeDocument/2006/relationships/tags" Target="../tags/tag572.xml"/><Relationship Id="rId5" Type="http://schemas.openxmlformats.org/officeDocument/2006/relationships/tags" Target="../tags/tag566.xml"/><Relationship Id="rId15" Type="http://schemas.openxmlformats.org/officeDocument/2006/relationships/image" Target="../media/image19.svg"/><Relationship Id="rId10" Type="http://schemas.openxmlformats.org/officeDocument/2006/relationships/tags" Target="../tags/tag571.xml"/><Relationship Id="rId4" Type="http://schemas.openxmlformats.org/officeDocument/2006/relationships/tags" Target="../tags/tag565.xml"/><Relationship Id="rId9" Type="http://schemas.openxmlformats.org/officeDocument/2006/relationships/tags" Target="../tags/tag570.xml"/><Relationship Id="rId14" Type="http://schemas.openxmlformats.org/officeDocument/2006/relationships/image" Target="../media/image18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581.xml"/><Relationship Id="rId13" Type="http://schemas.openxmlformats.org/officeDocument/2006/relationships/tags" Target="../tags/tag584.xml"/><Relationship Id="rId18" Type="http://schemas.openxmlformats.org/officeDocument/2006/relationships/image" Target="../media/image63.png"/><Relationship Id="rId3" Type="http://schemas.openxmlformats.org/officeDocument/2006/relationships/tags" Target="../tags/tag576.xml"/><Relationship Id="rId21" Type="http://schemas.openxmlformats.org/officeDocument/2006/relationships/image" Target="../media/image51.png"/><Relationship Id="rId7" Type="http://schemas.openxmlformats.org/officeDocument/2006/relationships/tags" Target="../tags/tag580.xml"/><Relationship Id="rId12" Type="http://schemas.openxmlformats.org/officeDocument/2006/relationships/tags" Target="../tags/tag583.xml"/><Relationship Id="rId17" Type="http://schemas.openxmlformats.org/officeDocument/2006/relationships/slideLayout" Target="../slideLayouts/slideLayout29.xml"/><Relationship Id="rId2" Type="http://schemas.openxmlformats.org/officeDocument/2006/relationships/tags" Target="../tags/tag575.xml"/><Relationship Id="rId16" Type="http://schemas.openxmlformats.org/officeDocument/2006/relationships/tags" Target="../tags/tag587.xml"/><Relationship Id="rId20" Type="http://schemas.openxmlformats.org/officeDocument/2006/relationships/image" Target="../media/image65.png"/><Relationship Id="rId1" Type="http://schemas.openxmlformats.org/officeDocument/2006/relationships/tags" Target="../tags/tag574.xml"/><Relationship Id="rId6" Type="http://schemas.openxmlformats.org/officeDocument/2006/relationships/tags" Target="../tags/tag579.xml"/><Relationship Id="rId11" Type="http://schemas.openxmlformats.org/officeDocument/2006/relationships/audio" Target="../media/media3.wav"/><Relationship Id="rId5" Type="http://schemas.openxmlformats.org/officeDocument/2006/relationships/tags" Target="../tags/tag578.xml"/><Relationship Id="rId15" Type="http://schemas.openxmlformats.org/officeDocument/2006/relationships/tags" Target="../tags/tag586.xml"/><Relationship Id="rId10" Type="http://schemas.microsoft.com/office/2007/relationships/media" Target="../media/media3.wav"/><Relationship Id="rId19" Type="http://schemas.openxmlformats.org/officeDocument/2006/relationships/image" Target="../media/image64.PNG"/><Relationship Id="rId4" Type="http://schemas.openxmlformats.org/officeDocument/2006/relationships/tags" Target="../tags/tag577.xml"/><Relationship Id="rId9" Type="http://schemas.openxmlformats.org/officeDocument/2006/relationships/tags" Target="../tags/tag582.xml"/><Relationship Id="rId14" Type="http://schemas.openxmlformats.org/officeDocument/2006/relationships/tags" Target="../tags/tag585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595.xml"/><Relationship Id="rId13" Type="http://schemas.openxmlformats.org/officeDocument/2006/relationships/image" Target="../media/image19.svg"/><Relationship Id="rId3" Type="http://schemas.openxmlformats.org/officeDocument/2006/relationships/tags" Target="../tags/tag590.xml"/><Relationship Id="rId7" Type="http://schemas.openxmlformats.org/officeDocument/2006/relationships/tags" Target="../tags/tag594.xml"/><Relationship Id="rId12" Type="http://schemas.openxmlformats.org/officeDocument/2006/relationships/image" Target="../media/image18.png"/><Relationship Id="rId2" Type="http://schemas.openxmlformats.org/officeDocument/2006/relationships/tags" Target="../tags/tag589.xml"/><Relationship Id="rId1" Type="http://schemas.openxmlformats.org/officeDocument/2006/relationships/tags" Target="../tags/tag588.xml"/><Relationship Id="rId6" Type="http://schemas.openxmlformats.org/officeDocument/2006/relationships/tags" Target="../tags/tag593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592.xml"/><Relationship Id="rId10" Type="http://schemas.openxmlformats.org/officeDocument/2006/relationships/tags" Target="../tags/tag597.xml"/><Relationship Id="rId4" Type="http://schemas.openxmlformats.org/officeDocument/2006/relationships/tags" Target="../tags/tag591.xml"/><Relationship Id="rId9" Type="http://schemas.openxmlformats.org/officeDocument/2006/relationships/tags" Target="../tags/tag596.xml"/><Relationship Id="rId14" Type="http://schemas.openxmlformats.org/officeDocument/2006/relationships/image" Target="../media/image66.jpe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13" Type="http://schemas.openxmlformats.org/officeDocument/2006/relationships/tags" Target="../tags/tag608.xml"/><Relationship Id="rId18" Type="http://schemas.openxmlformats.org/officeDocument/2006/relationships/image" Target="../media/image63.png"/><Relationship Id="rId3" Type="http://schemas.openxmlformats.org/officeDocument/2006/relationships/tags" Target="../tags/tag600.xml"/><Relationship Id="rId21" Type="http://schemas.openxmlformats.org/officeDocument/2006/relationships/image" Target="../media/image51.png"/><Relationship Id="rId7" Type="http://schemas.openxmlformats.org/officeDocument/2006/relationships/tags" Target="../tags/tag604.xml"/><Relationship Id="rId12" Type="http://schemas.openxmlformats.org/officeDocument/2006/relationships/tags" Target="../tags/tag607.xml"/><Relationship Id="rId17" Type="http://schemas.openxmlformats.org/officeDocument/2006/relationships/slideLayout" Target="../slideLayouts/slideLayout29.xml"/><Relationship Id="rId2" Type="http://schemas.openxmlformats.org/officeDocument/2006/relationships/tags" Target="../tags/tag599.xml"/><Relationship Id="rId16" Type="http://schemas.openxmlformats.org/officeDocument/2006/relationships/tags" Target="../tags/tag611.xml"/><Relationship Id="rId20" Type="http://schemas.openxmlformats.org/officeDocument/2006/relationships/image" Target="../media/image65.png"/><Relationship Id="rId1" Type="http://schemas.openxmlformats.org/officeDocument/2006/relationships/tags" Target="../tags/tag598.xml"/><Relationship Id="rId6" Type="http://schemas.openxmlformats.org/officeDocument/2006/relationships/tags" Target="../tags/tag603.xml"/><Relationship Id="rId11" Type="http://schemas.openxmlformats.org/officeDocument/2006/relationships/audio" Target="../media/media3.wav"/><Relationship Id="rId5" Type="http://schemas.openxmlformats.org/officeDocument/2006/relationships/tags" Target="../tags/tag602.xml"/><Relationship Id="rId15" Type="http://schemas.openxmlformats.org/officeDocument/2006/relationships/tags" Target="../tags/tag610.xml"/><Relationship Id="rId10" Type="http://schemas.microsoft.com/office/2007/relationships/media" Target="../media/media3.wav"/><Relationship Id="rId19" Type="http://schemas.openxmlformats.org/officeDocument/2006/relationships/image" Target="../media/image64.PNG"/><Relationship Id="rId4" Type="http://schemas.openxmlformats.org/officeDocument/2006/relationships/tags" Target="../tags/tag601.xml"/><Relationship Id="rId9" Type="http://schemas.openxmlformats.org/officeDocument/2006/relationships/tags" Target="../tags/tag606.xml"/><Relationship Id="rId14" Type="http://schemas.openxmlformats.org/officeDocument/2006/relationships/tags" Target="../tags/tag609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614.xml"/><Relationship Id="rId7" Type="http://schemas.openxmlformats.org/officeDocument/2006/relationships/image" Target="../media/image18.png"/><Relationship Id="rId2" Type="http://schemas.openxmlformats.org/officeDocument/2006/relationships/tags" Target="../tags/tag613.xml"/><Relationship Id="rId1" Type="http://schemas.openxmlformats.org/officeDocument/2006/relationships/tags" Target="../tags/tag612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616.xml"/><Relationship Id="rId10" Type="http://schemas.openxmlformats.org/officeDocument/2006/relationships/image" Target="../media/image67.png"/><Relationship Id="rId4" Type="http://schemas.openxmlformats.org/officeDocument/2006/relationships/tags" Target="../tags/tag615.xml"/><Relationship Id="rId9" Type="http://schemas.openxmlformats.org/officeDocument/2006/relationships/image" Target="../media/image22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622.xml"/><Relationship Id="rId13" Type="http://schemas.openxmlformats.org/officeDocument/2006/relationships/tags" Target="../tags/tag627.xml"/><Relationship Id="rId18" Type="http://schemas.openxmlformats.org/officeDocument/2006/relationships/image" Target="../media/image51.png"/><Relationship Id="rId3" Type="http://schemas.openxmlformats.org/officeDocument/2006/relationships/tags" Target="../tags/tag619.xml"/><Relationship Id="rId7" Type="http://schemas.openxmlformats.org/officeDocument/2006/relationships/audio" Target="../media/media4.mp3"/><Relationship Id="rId12" Type="http://schemas.openxmlformats.org/officeDocument/2006/relationships/tags" Target="../tags/tag626.xml"/><Relationship Id="rId17" Type="http://schemas.openxmlformats.org/officeDocument/2006/relationships/image" Target="../media/image68.gif"/><Relationship Id="rId2" Type="http://schemas.openxmlformats.org/officeDocument/2006/relationships/tags" Target="../tags/tag618.xml"/><Relationship Id="rId16" Type="http://schemas.openxmlformats.org/officeDocument/2006/relationships/image" Target="../media/image19.svg"/><Relationship Id="rId1" Type="http://schemas.openxmlformats.org/officeDocument/2006/relationships/tags" Target="../tags/tag617.xml"/><Relationship Id="rId6" Type="http://schemas.microsoft.com/office/2007/relationships/media" Target="../media/media4.mp3"/><Relationship Id="rId11" Type="http://schemas.openxmlformats.org/officeDocument/2006/relationships/tags" Target="../tags/tag625.xml"/><Relationship Id="rId5" Type="http://schemas.openxmlformats.org/officeDocument/2006/relationships/tags" Target="../tags/tag621.xml"/><Relationship Id="rId15" Type="http://schemas.openxmlformats.org/officeDocument/2006/relationships/image" Target="../media/image18.png"/><Relationship Id="rId10" Type="http://schemas.openxmlformats.org/officeDocument/2006/relationships/tags" Target="../tags/tag624.xml"/><Relationship Id="rId4" Type="http://schemas.openxmlformats.org/officeDocument/2006/relationships/tags" Target="../tags/tag620.xml"/><Relationship Id="rId9" Type="http://schemas.openxmlformats.org/officeDocument/2006/relationships/tags" Target="../tags/tag623.xml"/><Relationship Id="rId14" Type="http://schemas.openxmlformats.org/officeDocument/2006/relationships/slideLayout" Target="../slideLayouts/slideLayout29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635.xml"/><Relationship Id="rId13" Type="http://schemas.openxmlformats.org/officeDocument/2006/relationships/tags" Target="../tags/tag640.xml"/><Relationship Id="rId18" Type="http://schemas.openxmlformats.org/officeDocument/2006/relationships/image" Target="../media/image70.jpeg"/><Relationship Id="rId3" Type="http://schemas.openxmlformats.org/officeDocument/2006/relationships/tags" Target="../tags/tag630.xml"/><Relationship Id="rId21" Type="http://schemas.microsoft.com/office/2007/relationships/hdphoto" Target="../media/hdphoto1.wdp"/><Relationship Id="rId7" Type="http://schemas.openxmlformats.org/officeDocument/2006/relationships/tags" Target="../tags/tag634.xml"/><Relationship Id="rId12" Type="http://schemas.openxmlformats.org/officeDocument/2006/relationships/tags" Target="../tags/tag639.xml"/><Relationship Id="rId17" Type="http://schemas.openxmlformats.org/officeDocument/2006/relationships/image" Target="../media/image69.jpg"/><Relationship Id="rId2" Type="http://schemas.openxmlformats.org/officeDocument/2006/relationships/tags" Target="../tags/tag629.xml"/><Relationship Id="rId16" Type="http://schemas.openxmlformats.org/officeDocument/2006/relationships/image" Target="../media/image19.svg"/><Relationship Id="rId20" Type="http://schemas.openxmlformats.org/officeDocument/2006/relationships/image" Target="../media/image72.png"/><Relationship Id="rId1" Type="http://schemas.openxmlformats.org/officeDocument/2006/relationships/tags" Target="../tags/tag628.xml"/><Relationship Id="rId6" Type="http://schemas.openxmlformats.org/officeDocument/2006/relationships/tags" Target="../tags/tag633.xml"/><Relationship Id="rId11" Type="http://schemas.openxmlformats.org/officeDocument/2006/relationships/tags" Target="../tags/tag638.xml"/><Relationship Id="rId5" Type="http://schemas.openxmlformats.org/officeDocument/2006/relationships/tags" Target="../tags/tag632.xml"/><Relationship Id="rId15" Type="http://schemas.openxmlformats.org/officeDocument/2006/relationships/image" Target="../media/image18.png"/><Relationship Id="rId10" Type="http://schemas.openxmlformats.org/officeDocument/2006/relationships/tags" Target="../tags/tag637.xml"/><Relationship Id="rId19" Type="http://schemas.openxmlformats.org/officeDocument/2006/relationships/image" Target="../media/image71.jpg"/><Relationship Id="rId4" Type="http://schemas.openxmlformats.org/officeDocument/2006/relationships/tags" Target="../tags/tag631.xml"/><Relationship Id="rId9" Type="http://schemas.openxmlformats.org/officeDocument/2006/relationships/tags" Target="../tags/tag636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3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648.xml"/><Relationship Id="rId13" Type="http://schemas.openxmlformats.org/officeDocument/2006/relationships/image" Target="../media/image43.png"/><Relationship Id="rId3" Type="http://schemas.openxmlformats.org/officeDocument/2006/relationships/tags" Target="../tags/tag643.xml"/><Relationship Id="rId7" Type="http://schemas.openxmlformats.org/officeDocument/2006/relationships/tags" Target="../tags/tag647.xml"/><Relationship Id="rId12" Type="http://schemas.openxmlformats.org/officeDocument/2006/relationships/image" Target="../media/image19.svg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tags" Target="../tags/tag646.xml"/><Relationship Id="rId11" Type="http://schemas.openxmlformats.org/officeDocument/2006/relationships/image" Target="../media/image18.png"/><Relationship Id="rId5" Type="http://schemas.openxmlformats.org/officeDocument/2006/relationships/tags" Target="../tags/tag645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644.xml"/><Relationship Id="rId9" Type="http://schemas.openxmlformats.org/officeDocument/2006/relationships/tags" Target="../tags/tag64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34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29.svg"/><Relationship Id="rId5" Type="http://schemas.openxmlformats.org/officeDocument/2006/relationships/tags" Target="../tags/tag86.xml"/><Relationship Id="rId10" Type="http://schemas.openxmlformats.org/officeDocument/2006/relationships/image" Target="../media/image15.png"/><Relationship Id="rId4" Type="http://schemas.openxmlformats.org/officeDocument/2006/relationships/tags" Target="../tags/tag85.xml"/><Relationship Id="rId9" Type="http://schemas.openxmlformats.org/officeDocument/2006/relationships/image" Target="../media/image5.jpe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657.xml"/><Relationship Id="rId13" Type="http://schemas.openxmlformats.org/officeDocument/2006/relationships/image" Target="../media/image3.emf"/><Relationship Id="rId3" Type="http://schemas.openxmlformats.org/officeDocument/2006/relationships/tags" Target="../tags/tag652.xml"/><Relationship Id="rId7" Type="http://schemas.openxmlformats.org/officeDocument/2006/relationships/tags" Target="../tags/tag656.xml"/><Relationship Id="rId12" Type="http://schemas.openxmlformats.org/officeDocument/2006/relationships/oleObject" Target="../embeddings/oleObject2.bin"/><Relationship Id="rId2" Type="http://schemas.openxmlformats.org/officeDocument/2006/relationships/tags" Target="../tags/tag651.xml"/><Relationship Id="rId16" Type="http://schemas.openxmlformats.org/officeDocument/2006/relationships/image" Target="../media/image74.png"/><Relationship Id="rId1" Type="http://schemas.openxmlformats.org/officeDocument/2006/relationships/tags" Target="../tags/tag650.xml"/><Relationship Id="rId6" Type="http://schemas.openxmlformats.org/officeDocument/2006/relationships/tags" Target="../tags/tag655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654.xml"/><Relationship Id="rId15" Type="http://schemas.openxmlformats.org/officeDocument/2006/relationships/hyperlink" Target="https://forms.gle/MPZzCzLAsK9AdG8x7" TargetMode="External"/><Relationship Id="rId10" Type="http://schemas.openxmlformats.org/officeDocument/2006/relationships/slideLayout" Target="../slideLayouts/slideLayout45.xml"/><Relationship Id="rId4" Type="http://schemas.openxmlformats.org/officeDocument/2006/relationships/tags" Target="../tags/tag653.xml"/><Relationship Id="rId9" Type="http://schemas.openxmlformats.org/officeDocument/2006/relationships/tags" Target="../tags/tag658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1.xml"/><Relationship Id="rId7" Type="http://schemas.openxmlformats.org/officeDocument/2006/relationships/image" Target="../media/image5.jpe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3.xml"/><Relationship Id="rId10" Type="http://schemas.openxmlformats.org/officeDocument/2006/relationships/image" Target="../media/image8.png"/><Relationship Id="rId4" Type="http://schemas.openxmlformats.org/officeDocument/2006/relationships/tags" Target="../tags/tag92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29.sv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15.png"/><Relationship Id="rId5" Type="http://schemas.openxmlformats.org/officeDocument/2006/relationships/tags" Target="../tags/tag98.xml"/><Relationship Id="rId10" Type="http://schemas.openxmlformats.org/officeDocument/2006/relationships/image" Target="../media/image5.jpeg"/><Relationship Id="rId4" Type="http://schemas.openxmlformats.org/officeDocument/2006/relationships/tags" Target="../tags/tag97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3 - Séance 1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3 : 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926220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srgbClr val="106584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35540"/>
            <a:ext cx="5016537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Écoute active du dialogue</a:t>
            </a:r>
            <a:endParaRPr lang="fr-FR" sz="21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05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3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E2742FA-FC82-4B13-5DA2-4733DA9A7D3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70222" y="2954889"/>
            <a:ext cx="3795089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DD2706B-5186-17D0-E439-1AC0E8EABC4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950689" y="2950043"/>
            <a:ext cx="378746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E9A26F7-DF69-EBB3-AD41-D3571A65E5E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4964266" y="2950043"/>
            <a:ext cx="3787468" cy="53420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5226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64483-EBED-AFC3-42E7-5B7C51F320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CFE0239B-D923-8B2C-30A6-614C7B99098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558391A5-78BE-3019-8AFF-6B37DCA6C38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66941" y="2474553"/>
            <a:ext cx="9363209" cy="56784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: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es syllabes.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 </a:t>
            </a: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Vocabulair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vrir – fermer – entrer – sortir – courir – marcher – donner – prendre.  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oute active du dialogu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AC814555-9B2E-7EEA-2022-DADBF62D6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6AA2F05-5E5A-A966-E62E-14E3DE5DD4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0ED06D3-C6F5-6B1F-790C-9D323CD5D90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29082" y="2643188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DFFE1A9C-85C8-638B-99FB-BDBD5944D86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1" y="703696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1</a:t>
            </a:r>
          </a:p>
        </p:txBody>
      </p:sp>
    </p:spTree>
    <p:extLst>
      <p:ext uri="{BB962C8B-B14F-4D97-AF65-F5344CB8AC3E}">
        <p14:creationId xmlns:p14="http://schemas.microsoft.com/office/powerpoint/2010/main" val="3479873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1005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57500" y="4809538"/>
            <a:ext cx="5522127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ion des 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yllabes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55970" y="4742635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379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6645B-3940-A0D3-D68D-66E32F026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44EAEBCF-3EE1-818F-6B6D-4B7D398ECD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E658A6F-0765-7A54-7C65-B6FC69C52E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218B1A0A-696F-0520-A35A-72029FBE7A9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6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32D864C5-DAF0-4655-89C2-53AF9BCE46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11060" y="742819"/>
            <a:ext cx="10115550" cy="445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i veut passer au tableau pour lire les syllabes ?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6F0B280-1108-6CFC-E5BD-6B5150B7515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4701570"/>
            <a:ext cx="12973049" cy="3287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La   Mi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ul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al   me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lou</a:t>
            </a:r>
            <a:endParaRPr lang="fr-MA" sz="7200" b="1" dirty="0">
              <a:solidFill>
                <a:srgbClr val="106584"/>
              </a:solidFill>
              <a:latin typeface="KG Primary Penmanship 2" panose="020B0604020202020204" charset="0"/>
            </a:endParaRPr>
          </a:p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ém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l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il   mo   </a:t>
            </a:r>
            <a:r>
              <a:rPr lang="fr-MA" sz="72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um</a:t>
            </a:r>
            <a:r>
              <a:rPr lang="fr-MA" sz="7200" b="1" dirty="0">
                <a:solidFill>
                  <a:srgbClr val="106584"/>
                </a:solidFill>
                <a:latin typeface="KG Primary Penmanship 2" panose="020B0604020202020204" charset="0"/>
              </a:rPr>
              <a:t>   lu</a:t>
            </a:r>
          </a:p>
        </p:txBody>
      </p:sp>
    </p:spTree>
    <p:extLst>
      <p:ext uri="{BB962C8B-B14F-4D97-AF65-F5344CB8AC3E}">
        <p14:creationId xmlns:p14="http://schemas.microsoft.com/office/powerpoint/2010/main" val="4222133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A1E73-79C4-5A8B-419A-912B81ED0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08CF34B-89FD-EA1A-F90B-5A7C1BF49F2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0F335ADE-79C9-B5C9-51ED-1DAB380868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301" y="2517417"/>
            <a:ext cx="9387438" cy="55322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: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syllabes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Vocabulaire </a:t>
            </a:r>
          </a:p>
          <a:p>
            <a:pPr defTabSz="914445">
              <a:defRPr/>
            </a:pPr>
            <a:r>
              <a:rPr lang="fr-FR" sz="28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Ouvrir – fermer – entrer – sortir – courir – marcher – donner – prendre</a:t>
            </a: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. 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oute active du dialogu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D982CCA9-C0E9-F357-032E-3E45F9BDD4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BC2C3C62-D2F0-5D66-B003-9B29F2A640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9F52DD5-72FC-C01C-0E5E-9A31D0DA420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0442" y="4423339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E8BC9D05-A17F-03E4-0B86-D41C0650A45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1" y="703696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1</a:t>
            </a:r>
          </a:p>
        </p:txBody>
      </p:sp>
    </p:spTree>
    <p:extLst>
      <p:ext uri="{BB962C8B-B14F-4D97-AF65-F5344CB8AC3E}">
        <p14:creationId xmlns:p14="http://schemas.microsoft.com/office/powerpoint/2010/main" val="41979923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33D89-E7EB-40FF-CF5A-67891382CE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5C1A6AA9-C3B1-4A03-25C0-BBE980C6C81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D44030F-92D5-5155-F355-E8C7E15D60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F0452C29-99B7-8199-E0D2-7FA9B3CE6D3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326A109-A75D-CF93-446A-F83CED64A5AC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C1B858CF-CB87-B56A-234E-C5EEFE1D0F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650BDE26-F7F8-B9CB-3168-206425D2A5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29180C3-8241-7001-16E0-7FBD10F76B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Pour l’enseignant</a:t>
            </a: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0F15267E-B8FE-08AE-4F3F-7E36AA92DBD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1636" y="3572769"/>
            <a:ext cx="11752727" cy="4200876"/>
            <a:chOff x="1021947" y="3100970"/>
            <a:chExt cx="11752727" cy="3654320"/>
          </a:xfrm>
        </p:grpSpPr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02D21C84-53F1-7BB4-221B-E998AA8D854A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CF97475C-256F-4F9A-39B9-48493C5B2BE1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27" name="Image 26">
            <a:extLst>
              <a:ext uri="{FF2B5EF4-FFF2-40B4-BE49-F238E27FC236}">
                <a16:creationId xmlns:a16="http://schemas.microsoft.com/office/drawing/2014/main" id="{7B5027DB-2000-F021-9FED-7B6245E801F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480250" y="4327858"/>
            <a:ext cx="504425" cy="549068"/>
          </a:xfrm>
          <a:prstGeom prst="rect">
            <a:avLst/>
          </a:prstGeom>
        </p:spPr>
      </p:pic>
      <p:sp>
        <p:nvSpPr>
          <p:cNvPr id="28" name="TextBox 10">
            <a:extLst>
              <a:ext uri="{FF2B5EF4-FFF2-40B4-BE49-F238E27FC236}">
                <a16:creationId xmlns:a16="http://schemas.microsoft.com/office/drawing/2014/main" id="{84DD528D-EB98-ECE4-6F2D-CB50C4FB8A3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22019" y="4269267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1F497D"/>
                </a:solidFill>
                <a:latin typeface="Dosis" pitchFamily="2" charset="0"/>
              </a:rPr>
              <a:t>Comprendre et produire les mots du vocabulaire. 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B5BEF4F0-E29B-45FC-F13B-6B9F91CE515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22343" y="5355317"/>
            <a:ext cx="9382437" cy="134079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2800" b="1" dirty="0">
                <a:solidFill>
                  <a:srgbClr val="0070C0"/>
                </a:solidFill>
                <a:latin typeface="Dosis" pitchFamily="2" charset="0"/>
                <a:cs typeface="Calibri" panose="020F0502020204030204" pitchFamily="34" charset="0"/>
              </a:rPr>
              <a:t>ouvrir – fermer – entrer – sortir – courir – marcher – donner – prendre.</a:t>
            </a:r>
          </a:p>
        </p:txBody>
      </p:sp>
    </p:spTree>
    <p:extLst>
      <p:ext uri="{BB962C8B-B14F-4D97-AF65-F5344CB8AC3E}">
        <p14:creationId xmlns:p14="http://schemas.microsoft.com/office/powerpoint/2010/main" val="27114997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F7ABAD-6D4F-5884-D500-D3BA349F70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B56996F-8A36-5ADD-F51B-8EFFF263B6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0DB4791-4225-B220-0450-4C3B5DF5039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354801-1089-A7A4-8214-A411E8F5FE1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3C646B14-2B44-B7CA-F26B-5B774A5BCB17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AC8605C8-86EC-7DB7-A51B-94E4CC9CA52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8650114-05F9-655E-43A9-6A1D263C960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959F369-1C93-044C-17A2-6B94B91424B6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85E1326-47E4-A5D6-D03F-4EF7E43C4E5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D65CE5-908B-FB32-AAB5-F056B9D6EC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59540" y="76814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98DA2D2-6A9D-C73B-C833-76727114B78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89933" y="664759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yez attentifs ! Nous allons apprendre de nouveaux mots en français. 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E39558C-94AB-CA03-FA1F-8FB1A793970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072812" y="3168311"/>
            <a:ext cx="5855106" cy="472757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6C41D705-F852-1966-312B-BABF2E78FCFC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48649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88600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CBB19-A7A4-7F4F-D8D0-F60D25131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93BC107-687A-8409-5529-901A2892781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15AD9B6-550E-DB3E-7419-381098CA6ED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9921514-774A-D848-DE56-D25C7A77DD3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4849BD0-F8ED-90B7-D59F-4EF52469809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C2E188C-06BC-B34D-4384-6C6694173299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A8F4DEC-4D07-F081-79E7-E02681A42AC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2F7D6E56-4051-F01B-3AD0-F621D97FFEE8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B19F4AB3-0446-1FE3-6DFC-AEB94F68FEAC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3C370A50-3A79-EB09-51B7-7B9423B4EE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111B326-619B-4F97-CCFC-F384BA8DE8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91">
              <a:spcAft>
                <a:spcPts val="9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 fait le garçon ? Dites le mot en arabe ou en français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A65BAF5-54E8-0CED-B590-E9A3C9361DC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F5EBFF3-8C31-3000-3402-EEFE77A942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410075" y="2133600"/>
            <a:ext cx="4895850" cy="6019800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9FFF65D2-BD10-58B3-197A-02B6A2D4C9D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0824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313169-0F2E-F1A7-BBE3-ECE634E07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6E85AD96-86F4-4598-FAC9-EB53D57E09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6A8CEB9-C147-7AE1-2423-4D64C26FD8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AFCD8EF-FB69-E36C-730A-0F839B798FC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C867E7A-F2EB-1EE5-7245-B54B0C02D826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BA9D39-CDAA-4819-B47B-6825ADDBBD36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F9EA1E3B-6EB6-AB99-7058-7CA715BD993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AB8C9AC-022C-4511-EA7E-351598BC29BA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F4E3BD06-F73C-5711-5A11-1A8729F2CF1E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C54AD3D5-B6A2-BA3A-76F1-886B5D1B79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519402C-A400-6EC3-05CB-E08946B2AD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e garçon ouvre la porte.</a:t>
            </a:r>
          </a:p>
          <a:p>
            <a:pPr defTabSz="1543013">
              <a:spcAft>
                <a:spcPts val="9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65C2613-1E60-011C-28A1-40472ABA029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733" y="2300014"/>
            <a:ext cx="1300807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6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 garçon ouvre la porte. </a:t>
            </a:r>
            <a:endParaRPr lang="fr-FR" sz="66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8A29CD6-B8F4-4164-E174-CA856BFD984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5AE2388-8270-FE2E-4059-31A1DF90A86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5142732" y="4129789"/>
            <a:ext cx="3430535" cy="421809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8F0532C9-A764-F07C-FBB9-7E2DA5721599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54594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B984B-236C-72F3-F692-CBBCD7680E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43C235DB-1CBC-AE27-E87C-10AE2A1EAD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443EEBC9-BD30-DDFC-F31A-4D92E557137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AEAEA2A-61A8-EA72-065D-CF4205021E1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021A907-68A6-57A8-361E-42210455911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BB074CB-5A9F-0775-F67F-65FD578E0133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129826C-4FCC-749C-4B9D-52B47A9B249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2AEAA1DB-7E49-4AB7-4D27-DF2D665492D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3C54107-A4A4-460A-6671-E48B7EFC0EEF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90AEE8D-CF30-52CB-0B74-99D4F544A7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8B84D36-91E2-FF8B-9C94-C12AAC42395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le verbe ouvrir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BC0D81D-F734-7754-49D1-0980177583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9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ouvrir </a:t>
            </a:r>
            <a:endParaRPr lang="fr-FR" sz="99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B8B6570-C827-FC3A-05DC-7CCC274D5D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1FD6738-9500-E5FA-C013-BD08672FE192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2010459" y="2962621"/>
            <a:ext cx="3547379" cy="436175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76682BEB-387F-E9AD-8E28-A88824D714F4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2300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5BC57B-EF08-5F29-8515-54251843CF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DF0989D-5573-D98F-03BD-80FB523C3B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9B5A627-42D3-5622-5516-0BA4E82AF5D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69311B9-3C1F-7A11-5836-E0D2C9D8B26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1E66B8F-9FD8-6128-6576-4C1300A83402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C4BA529-851D-5C58-036D-FCCA88478AE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064E07F-6552-A1D3-52EB-4F1E7211FDA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200126F5-C2FB-3219-C31E-4A87FA9C965D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1200162-9D43-1C87-E1C0-82C4A9EED647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79EAAAC5-90B6-97B3-639B-300930ED4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546167-3402-7CE8-2419-E394BCDF2D2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91">
              <a:spcAft>
                <a:spcPts val="9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 fait le garçon ? Dites le mot en arabe ou en français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D3172EB-B28F-42B0-47F2-8443E595A75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5C2761C-5765-9C0B-A276-15175B8C2CB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410075" y="2133600"/>
            <a:ext cx="4895850" cy="6019800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BB44A74B-3672-F597-5632-B0644B34C0F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73756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A77749-F6CA-1C06-1ABA-15A6AEF79D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B128DFA-DFDF-9BD7-B696-F684AEC7C5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2D3F25D-B86B-C8CE-03C3-227187C2CF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F59968-C817-4DC5-0627-B20155FB3AF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6407E6E-742A-2185-E6AB-2771BFAB7EF6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E3C6E8B-E420-B414-DDCB-27511D9D6A42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E1B9BB1-FEAF-BAE0-4967-691404668193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4B879DC7-2098-1D10-BC97-51B00397EAE6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6191CEB-DF2F-9636-968E-5937529C6412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44B5D39-BD6E-920A-50AD-E01F029714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3788628-8F9E-9F04-77F2-62A09D2D0E5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e garçon ferme la porte.</a:t>
            </a:r>
          </a:p>
          <a:p>
            <a:pPr defTabSz="1543013">
              <a:spcAft>
                <a:spcPts val="9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DFFF1B6-63D9-D117-FD56-416B1D4423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65021" y="2300014"/>
            <a:ext cx="129417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6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 garçon ferme la porte. </a:t>
            </a:r>
            <a:endParaRPr lang="fr-FR" sz="66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1B0FAA-30F8-9E21-D55A-1E27CEEF612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D091529-985A-1B48-49EF-BF19B5FB515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017" y="4120000"/>
            <a:ext cx="4512524" cy="4929623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C32A001D-2C1C-6525-B174-A49B6FB1BD30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22154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CC23BF-487A-7E89-6220-DFDB4B8D7D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A0D1BB16-13B8-61F2-E42E-3BDDC370B06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9F161EF-9F14-6BA1-7221-4C338420E8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le verbe fermer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8241970-103E-658F-3839-556CDE67C9F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9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ermer </a:t>
            </a:r>
            <a:endParaRPr lang="fr-FR" sz="99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07B6314-D32D-20A8-22AB-23DF8DFB94C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B0A278B-3124-55CE-8FF3-1D85CEE9F2D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90700" y="2064350"/>
            <a:ext cx="4895850" cy="6019800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B4F1E1AF-A141-EEE1-66C0-8012F7A2A8DB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6933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86EEDE-6796-BA93-01FE-7FB13AC05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601FED9-94C3-D0BA-44AD-3EFE9D4EE0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7543" y="80947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DF71351-67E8-88EC-A44A-B6E01A074E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49000" y="703846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Ouvrir. Fermer.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D39CD04-FE17-9419-669C-6160FCAE44B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7543" y="2880339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ouvrir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614DA96-B2E7-FF18-AD32-669F7F2082F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EB46A446-7258-56B7-0CC2-38BAB5F195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74342" y="2880339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ermer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B1D6916-3E00-264A-EFFA-A13198D4806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8079121" y="4613668"/>
            <a:ext cx="3609891" cy="405219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B7E0FDC-C058-D6C1-833E-CDDC42193CB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2503713" y="4290430"/>
            <a:ext cx="3133167" cy="4148465"/>
          </a:xfrm>
          <a:prstGeom prst="rect">
            <a:avLst/>
          </a:prstGeom>
        </p:spPr>
      </p:pic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CF4B40E7-3AA1-3187-ED52-1618A45968B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7160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B43D0-106C-95CA-F311-7DBCBFBCD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66EA7B27-21EF-52A1-5104-BF0B3F2833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7E3B857-09A0-4D7E-24CC-A4F5673B200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C2FE8E4-C7F5-E935-2795-E898DF07A4F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58FD39D-A47B-227C-8321-2F87CF5A5CE6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50F21E80-9A0F-0E1A-42B2-63929F4C1690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906A3583-8539-C7E2-C78E-B8BFECD579B2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AF38529-A061-F4C1-39AF-68F3C670D658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AA57F6FA-4741-C6E8-2E42-E53BDAE617E0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1AE4853D-B799-EB25-DEB2-8F7143FF93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6CF6B58-0603-B5C9-FEE1-590E466974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a fille 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2DA574C-EDB6-DE44-4246-8116818D82F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44022F6-7AFE-E8D3-FC07-A9A15500B0C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337133" y="3201016"/>
            <a:ext cx="5041734" cy="4854186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1F951536-5132-91CD-E7D4-12CD1497381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42619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31048-423B-235A-034D-48096B786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1ED81B6-6611-CD1F-B241-F801FCA59A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5B5DC32-B64D-4920-CE3D-F8B92DBC6FE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fille entre en classe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C77F03D-29A3-B74E-216D-8FA35B6FAA0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5763" y="2300014"/>
            <a:ext cx="129444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a fille entre en classe. 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752006D-F975-5535-35C3-3CF1934439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95107B6-D1A5-3A3B-9997-F08FD1A5330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711969" y="4134600"/>
            <a:ext cx="4185604" cy="4456341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76643B1-3BCF-6986-E2FF-05A071B42B6D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90686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BAAB4-BFAD-556E-B0B9-C8FB9D997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530546C-13A2-910D-0E64-F9F510651AB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1126B7D-5A72-F1DA-5484-078783AEE3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A57AAA3-B59C-7EE1-1CDF-49A9A60ED93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A384C19-2EE2-5661-F2FE-D21D46F91F5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DA5DEA0-7B79-271C-80DE-B64D6C317A1B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8F9005BD-34C4-4701-29FA-E54936F6266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9C3DC6F8-3C24-D478-7914-187CE015B9D9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320E79A-4160-0F17-0C77-C58EBC79A865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6C87E980-DCEC-8131-358E-086AC21A94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3BBD0A4-CDA7-4E09-EF04-307887B56B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entrer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0C491D2-96F3-082F-BA4E-E1D3E79AE14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entrer</a:t>
            </a: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06212AA-8DB5-8BDD-1E84-7B24692EC0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021B5A5-79DF-2F69-673A-4145DFF11607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2098874" y="3437084"/>
            <a:ext cx="3544690" cy="3412831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C4C96348-342C-C06C-C4A4-EA8A1862DBB5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481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B957B-C6B5-5E6D-F06D-1B8FBD5ED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E3F606F-9299-A39D-6978-683DE05C07B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5789F7D-1340-FA49-3C7A-2BE0FEF3D64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8F6E0-C376-7F7F-7DB9-0CEE4D9CFD3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8889503-0BE7-B4A0-9BB9-A952199C2589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BF8479F9-6C37-6C4C-8A76-9FE167574F5A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C20D39B8-3F3F-A22B-2DF8-25CAD502071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F0B95F51-2E5B-BA88-FD37-84CCBEAD8EE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AF0AFE0-F552-876D-64AE-C8D5F71E8D64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A389F1-CD86-1818-56C7-06910571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7544" y="67061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F489EC8-DE17-061B-9600-444BFF2EB1F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49001" y="564994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es élèves entrent en classe. </a:t>
            </a:r>
          </a:p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37CA902-D942-2860-E8EB-0B43488059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61285" y="2403181"/>
            <a:ext cx="99504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s élèves entrent en classe.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11B876A-B0A0-C36D-4495-C04ACAE7D68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415B2C4-9D23-425A-1410-EBB17411B58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3514751" y="3807033"/>
            <a:ext cx="6686498" cy="4994065"/>
          </a:xfrm>
          <a:prstGeom prst="rect">
            <a:avLst/>
          </a:prstGeom>
        </p:spPr>
      </p:pic>
      <p:pic>
        <p:nvPicPr>
          <p:cNvPr id="18" name="élév entre">
            <a:hlinkClick r:id="" action="ppaction://media"/>
            <a:extLst>
              <a:ext uri="{FF2B5EF4-FFF2-40B4-BE49-F238E27FC236}">
                <a16:creationId xmlns:a16="http://schemas.microsoft.com/office/drawing/2014/main" id="{7EE94CF6-F95D-275F-D615-8010B9A4CE77}"/>
              </a:ext>
            </a:extLst>
          </p:cNvPr>
          <p:cNvPicPr>
            <a:picLocks noChangeAspect="1"/>
          </p:cNvPicPr>
          <p:nvPr>
            <a:audioFile r:link="rId9"/>
            <p:custDataLst>
              <p:tags r:id="rId10"/>
            </p:custDataLst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10201249" y="783176"/>
            <a:ext cx="487363" cy="487363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5574877-D3F1-353D-5D66-B9E9380487E1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3045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16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226F6E-A8EA-B0D0-2102-08667FDBDE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623A0792-041C-5AFC-EC4C-309837F7CBB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4AE9F40A-1639-345C-838C-D262CA1D6B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3BF8AEE-86F4-FCF8-D58B-59E133568C83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0D438A96-BD77-2A4C-A79C-008752AF83B1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B0DCFFD7-C953-98D8-702D-BB80CB8C2D9D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95D45E4-387B-1E93-86AA-70A30118EE4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923ACEC9-1BE2-EA31-5AB4-67F063A89151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4DB59BD-C1F0-80D3-A31F-39A0A33CE86E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2222D0A-4167-6C5A-3006-C2C1706C8F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CE31840-48E4-C209-BCF0-8373E87DD7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e garçon 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3AADD7C-48B0-D86F-773A-CFCCA704A5E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C9A828B-F575-C6D1-8ED4-16912A7F153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4595727" y="2988784"/>
            <a:ext cx="4524545" cy="4309431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D3B2BD8C-1D9D-0A77-53CC-736E5E6AAFF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71195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9B99DE-8B71-8B6F-C48E-33496BF50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AF37A08-D905-39A9-EB93-804A8B33D4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44FEA07D-E5A1-124B-1D1C-28DDA31E4FD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CEBC628-57A7-897E-4B9F-090CDDB9709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0E19C05F-1A77-9DAB-CA4F-45D0CAF33613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09B03DC-85B4-E2AD-E187-C2EC32AC2366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44A038F-6ED1-B9D2-32B3-6C376275FFF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291B056-521B-C8D5-B55F-7A81B2772966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BA577025-708A-07E7-53E5-1394DB7635BC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31C5309-EFEB-D1D4-813F-EA0357CF6B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0CFD174-B955-44CF-D833-F7E80EB93C5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rçon sort de la classe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5299623-54DC-6B7B-B22D-DDF6BA789FE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65021" y="2300014"/>
            <a:ext cx="129417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 garçon sort de la classe.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1C340A5-334B-30C9-D8CA-C21B6E81022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EF590A2-21E0-5E77-65C8-A8518D47808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783022" y="4456063"/>
            <a:ext cx="4149956" cy="3952651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FB605866-76F0-7690-CC62-6CA6F3B5944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8647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D9BBB-39B0-C614-73D5-5B50D2F9FD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FFE7D5F-61E4-ECDB-715A-A3D91C8F4E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4C598DF-9262-80F8-FA48-01E67719D44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5E34525-51FF-980A-0089-F1504E7E9D3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4B132ED-88E3-AD97-FEF0-5C6FD586992F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0E3B1E1C-3D78-3D7E-3C8C-581793525965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CAA18923-115D-920E-80E1-07585E9312F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44600E9-AEDF-43F6-9EE9-83616C3A0EE1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67A5B7-FE3C-C973-88B3-14F296C02A3F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1538058A-806D-8A79-E07C-C72E87D6A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12BA0B-D459-CA45-5780-7F269389CB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sortir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3DBB001-8FE8-BB0B-D905-B67EA6A41F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ortir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E1E97AC-0F38-27F8-A02D-8B43A2FD99E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01B5791-BE96-878B-6AA4-FD06A06BA0D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2243979" y="3325729"/>
            <a:ext cx="3817017" cy="3635542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CE4C9B01-F959-08C2-1E67-76ECEA7D9F4A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5357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0799E-AFEE-824E-EEBF-7B47E5573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359B9AE-35E6-4442-4635-FDF6F480C63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7543" y="80947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A678E2E-EE12-3921-BB12-CF7DA9BAA3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49000" y="703846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ntrer. Sortir.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46C676B-DA00-1D3F-C45E-A9912823B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7543" y="2880339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entrer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14FAE38-E116-4049-9C35-433A038EC45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D4A04A01-2599-13E9-22F7-42BF105DDB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96884" y="2886511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sortir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5F88839-DB8E-A137-49B6-5509672B7E6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008468" y="4397113"/>
            <a:ext cx="3898148" cy="375314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D77AEEA-8159-7C4D-2058-63B29BF17829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7572183" y="4367387"/>
            <a:ext cx="3898149" cy="3712816"/>
          </a:xfrm>
          <a:prstGeom prst="rect">
            <a:avLst/>
          </a:prstGeom>
        </p:spPr>
      </p:pic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E48FEBC0-D469-7F86-00F8-AE5256333AE4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2040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B957B-C6B5-5E6D-F06D-1B8FBD5ED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FA389F1-CD86-1818-56C7-0691057171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7544" y="67061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F489EC8-DE17-061B-9600-444BFF2EB1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49001" y="564994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es élèves sortent de la classe. </a:t>
            </a:r>
          </a:p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37CA902-D942-2860-E8EB-0B43488059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61285" y="2403181"/>
            <a:ext cx="99504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s élèves sortent de la classe.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11B876A-B0A0-C36D-4495-C04ACAE7D68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3F2AF77-EF7A-E208-1D28-FA82DACFF7C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557392" y="4141416"/>
            <a:ext cx="6601215" cy="4659682"/>
          </a:xfrm>
          <a:prstGeom prst="rect">
            <a:avLst/>
          </a:prstGeom>
        </p:spPr>
      </p:pic>
      <p:pic>
        <p:nvPicPr>
          <p:cNvPr id="12" name="élèv sortent">
            <a:hlinkClick r:id="" action="ppaction://media"/>
            <a:extLst>
              <a:ext uri="{FF2B5EF4-FFF2-40B4-BE49-F238E27FC236}">
                <a16:creationId xmlns:a16="http://schemas.microsoft.com/office/drawing/2014/main" id="{55262758-99F7-EB90-0A12-F478095BE0A7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371137" y="810622"/>
            <a:ext cx="487363" cy="487363"/>
          </a:xfrm>
          <a:prstGeom prst="rect">
            <a:avLst/>
          </a:prstGeom>
        </p:spPr>
      </p:pic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D2E2D656-1BC0-35D3-AD12-FB76C48AC1D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419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03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BBF00-3700-C4ED-D9A7-C6EDE9878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3D90BC9-82DC-7E1B-15D7-1DFB687EB0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EDAE157-97E1-7BAE-72A8-6328D46438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e garçon 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6DC6913-35CF-6DCA-672F-D0B0A968116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75D4E47-7E93-EF61-DBA6-C450CC7EA41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944307" y="3247329"/>
            <a:ext cx="3827385" cy="4706045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61C2FDC8-7921-EDFC-3B8B-461304FA3B1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85902146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0329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C4EF42-0789-2B07-A633-464D57471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98ECC50-F89B-AC01-04DE-514F5EDDA3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82929EB-FD26-0250-4B04-0EE3D632F2E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rçon marche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D0BE8A0-2C12-EB94-1D37-2042791FC5A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5021" y="2300014"/>
            <a:ext cx="129417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 garçon marche.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19D332A-D43A-46DD-72AD-D3DA249B3A9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B5094D7-88BB-5651-432E-FD13FBA8615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080365" y="4347241"/>
            <a:ext cx="3512298" cy="4318623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D05294D6-5A19-2B73-0702-033913C7C37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5907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1DB9E-6EBE-D90C-AFDF-0BBF4D34B0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A3D1D31-4C7A-857A-95F7-FB594D1DFF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FF2B4C9-B152-2D1D-5213-025A3258199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marcher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1D38241-7D67-2CB8-B995-D1FA4BB990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marcher</a:t>
            </a: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D010C23-F67F-5F81-9F78-62707A0BC2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9E93C8E-BF06-EEEF-5BDF-74A7C32245A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375055" y="3063797"/>
            <a:ext cx="3382807" cy="4159405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8079A4F5-9747-3978-AE0E-3A8BE88738A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33851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BEF4D-BDC0-4124-0572-352F33889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04189FC-B1BA-288D-03F6-A144F2BB25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DEF9556-AC1E-23BB-F7A1-AD7FAFBCBA3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e garçon 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1C60597-D97B-E7A9-2428-A14E7F6ACE8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1D22297-58BB-AF35-90EC-6FD7CFE5DA4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070871" y="3087081"/>
            <a:ext cx="3574257" cy="439480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C0E6A7FE-ADAE-AD7F-85D8-354CDE369C4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42269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22CF3-0671-02DD-31E9-48A9B7DA4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A409D8BC-23CD-1AA3-7EEF-D1323D9D53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972F37-FF08-D3C1-2D50-6BBDC6E735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rçon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ourt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A94816D-0024-EBF6-1249-96CBB7CCF9A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5021" y="2300014"/>
            <a:ext cx="130160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 garçon </a:t>
            </a:r>
            <a:r>
              <a:rPr lang="fr-FR" sz="6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court</a:t>
            </a: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76A21A7-AF95-A704-C11D-137BED63B3E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B3B5852-2F3D-E065-7040-5005B78CA5A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226426" y="4411950"/>
            <a:ext cx="3263148" cy="4012275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9B4DBEF4-7DB7-2AC2-BB15-689C33D132AD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447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B9E8C-2435-AA1F-DA1C-64C264571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34FDF2A5-C457-FE99-5B38-635A83FCD31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D9B02C6-4FB7-42C6-F012-F92BD2CA8B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courir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A852F83-696B-2A0F-43FE-F5B2008FE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ourir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5CCEEB-F6DA-B8DB-DBAC-100E092CD38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67154AD-C7AF-BF4A-DEF1-4E35AEDE9AA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412920" y="3312026"/>
            <a:ext cx="2979043" cy="366294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4E54F186-4CA2-D070-FB1A-7C5512A9748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3566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3CC858-0E7D-D5E5-141A-01446B97C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13A4ADE-8FCB-EF96-4E79-0CBBE4DD3BC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7543" y="74415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000E843-B61E-A99F-9E9E-137AD93C5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168" y="703846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Marcher. Courir.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A2ADA1B-7286-5BD2-0EBC-45BFC9A901F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7543" y="2880339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marcher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3FDEC76-8733-7B7E-603A-133EE12671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DEED182-B8ED-D747-C254-C30A19DC1E9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96884" y="2886511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courir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C0A3B25A-149E-6F09-28C5-E94F6A4A247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302735" y="4775124"/>
            <a:ext cx="3274289" cy="4025974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E9D51636-DA3B-5909-AF24-C2E15C9E4EB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027948" y="4858898"/>
            <a:ext cx="3096171" cy="3806965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464D7208-F473-37AC-7062-119D616463F2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9847467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8266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E7504-D737-2282-36A1-4A0D07A7E7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1DE7933-80EF-5F12-2BB9-D01BB937FC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758202A-BCE1-A84E-43C8-56E6765DFF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e garçon 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5F5314E-BD5A-66B8-E415-EE84D37D976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C944C385-6158-5EE3-9762-92604E3BDB1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BA6A0E31-C365-0D1C-49E7-7A1E81383E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698889" y="2960920"/>
            <a:ext cx="4318222" cy="4365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0444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E67A3-9A50-E76C-9672-727C5FD12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2390C3D-54CF-8C1C-38C8-24B76A8B017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7D2053C-662D-03D3-84D4-3166BD4CF1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rçon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onne le cahier à la fille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456C70C-41D3-49A6-0DE2-AB4DC5C8896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5021" y="2300014"/>
            <a:ext cx="130160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 garçon </a:t>
            </a:r>
            <a:r>
              <a:rPr lang="fr-FR" sz="6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donne le cahier</a:t>
            </a: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FE08113-B7E8-BEEE-CCF3-8F9F1242740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9A50EE6A-C72F-EF9A-E61F-25204D6CD66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860BE7F7-5A60-BD2B-B2E0-9BC372AF3DE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879093" y="4366383"/>
            <a:ext cx="3987911" cy="4031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458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6EE82-293A-EF0D-F3B5-347D90D2E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E0DFFC1-33EB-2FF5-A136-4AF662155A1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8900928-7396-F63D-72F3-5F32807E2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donner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8EE582F-56B8-43A2-54A9-F37707A0785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onner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02EA9FF-72B9-205D-DC61-7FE039BDEA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ADD8A9F2-F32D-D38D-E9CA-BA69B48C271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C3431695-0CA7-BDB4-0A25-A757486531D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327164" y="3318591"/>
            <a:ext cx="3473561" cy="3511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843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5EC90-166A-6054-8C82-F98B0AF225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8FC5D153-AF08-F6ED-354A-C1B7B9D391D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8119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41BB258-7835-FE66-069A-A6B15B45E80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75259" y="755234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 fait la fille? Dites le mot en arabe ou en français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CAEB60A-5C56-CFC3-50A1-4109295FBE8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096624" y="559935"/>
            <a:ext cx="1746251" cy="123515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30D7B48-88A6-1FA2-830C-68A5D8BD10A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4B6DDC61-D10A-D2F2-7639-6127D4E7F1D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629867" y="3389179"/>
            <a:ext cx="4349807" cy="37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153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3D81F1-4B64-D0DA-9EC6-889046C5A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060FAFF-0A62-ECBC-5821-E0F30513BE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686869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C7D0726-209D-CADA-9E68-7F3A194FB8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7718" y="585974"/>
            <a:ext cx="11887200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fille prend le cahier.</a:t>
            </a:r>
          </a:p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29D3ACD-8BB4-DDA4-783C-66EDB1D11EB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5021" y="2300014"/>
            <a:ext cx="130160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a fille </a:t>
            </a:r>
            <a:r>
              <a:rPr lang="fr-FR" sz="60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prend le cahier</a:t>
            </a: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</a:t>
            </a:r>
            <a:endParaRPr kumimoji="0" lang="fr-FR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08C9DF8-8F19-4DE8-E42D-51BC66DDB5E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5F1AFCF0-187E-6E7C-FF2F-4135E60F2A00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30B36E7F-EEDF-D206-47A1-4C66B8F7FE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827428" y="4609892"/>
            <a:ext cx="4061143" cy="350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51941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86810-73B3-06F2-C7FD-5BAA76209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076CB5B-256D-070F-F573-FB2A8037DB4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65837" y="81749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6C7A599-7191-751B-739B-5F602033F5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852" y="73577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verbe prendre.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CABE095-6B87-DCE5-4D89-E6285499F03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8000" y="4335586"/>
            <a:ext cx="5718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endre </a:t>
            </a:r>
            <a:endParaRPr kumimoji="0" lang="fr-FR" sz="9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3251C6B-313D-3067-C2AA-18C5F5E2C68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027" y="487304"/>
            <a:ext cx="1446339" cy="144260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B9E6B43-A03D-382A-2AEA-EF8EA86D06C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1D2F54AE-F25F-43B7-6329-3007FA6FA50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043831" y="3604782"/>
            <a:ext cx="3565320" cy="307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665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F07454-AC5F-65B7-36DB-A0EAEBFF0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DC92D04-6E26-A157-3D48-1148DE321B6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7543" y="74415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339474F-C776-E96A-DF4A-9C027890FA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3168" y="703846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43013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Marcher. Courir.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12D2325-88F8-D759-3A26-9E034049590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7543" y="2880339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donner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CB72F4-AC6F-1C7F-EC3B-2D6746BE971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E177A7D5-FB7A-47B0-BDAA-E3818F5DF01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96884" y="2886511"/>
            <a:ext cx="6168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prendre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7AF55CD-5B4B-5950-D54F-AD8218ED908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D4D7B530-7F7D-E6DD-D7E2-AAD262F2B6E2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039715" y="4537365"/>
            <a:ext cx="3489547" cy="3527477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5DF14A1-5FAF-EDB6-CA71-F079892B3179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186740" y="4954593"/>
            <a:ext cx="3603337" cy="3110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7783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040B1-0CF6-16E1-B26E-E00479C485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8D0CA3AB-6803-F90E-9BDD-2027AA9E039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1E1A72A-E770-D942-5C29-26575170E51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pétons ensemble </a:t>
            </a:r>
            <a:r>
              <a:rPr kumimoji="0" lang="fr-FR" sz="2400" b="1" i="0" u="sng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 mot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5A74E878-2BD1-D790-90FC-11D193B875D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6CEAE53-52AC-ED6F-E127-A87D886220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81823" y="6221259"/>
            <a:ext cx="2596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ferm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823D39E8-F1E1-C8AB-8AE0-ABAEA2B7518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9980" y="6221258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ouvri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CE425B7-7D25-BA5F-DF9E-30B6E5DD673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938143" y="6221257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archer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64648E2A-B817-5B9A-8BBC-953F030BA94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240214" y="6214294"/>
            <a:ext cx="2385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couri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0" name="Tableau 29">
            <a:extLst>
              <a:ext uri="{FF2B5EF4-FFF2-40B4-BE49-F238E27FC236}">
                <a16:creationId xmlns:a16="http://schemas.microsoft.com/office/drawing/2014/main" id="{539D8114-0CA0-0838-36A4-82CA477D9EF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6816B0CE-47D8-8836-FA19-E1D683EDB6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252526" y="3233324"/>
            <a:ext cx="2446696" cy="274647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BDC54B3-CF9C-BDCD-5C98-95E5B28BFE06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516436" y="3351345"/>
            <a:ext cx="1896032" cy="251043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8C442AB-887F-49E1-13CD-6E4FAB905B4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7610908" y="3666927"/>
            <a:ext cx="1652447" cy="203180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8E52A11-26BD-EC56-A397-253CAA40180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0317506" y="3680706"/>
            <a:ext cx="1579215" cy="1941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855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4A080-F12E-16E4-165D-4D9DB87C7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49F7A5B-5017-43FC-30D7-99E479C2BE7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01D9684-1D4A-D9E2-6219-1461F3DE42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pétons ensemble </a:t>
            </a:r>
            <a:r>
              <a:rPr kumimoji="0" lang="fr-FR" sz="2400" b="1" i="0" u="sng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 mot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9CE8B07-290F-2ADA-C5EF-C7CA2A4D910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74C86425-4922-C0FF-87B2-03A574D4D9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67697" y="622043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entr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21480EE9-4713-F216-57A8-289A90F407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96076" y="6217259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ortir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6F8AC31-32B4-CD5F-2DC1-D1EC86C937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858000" y="621834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donn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8154015A-ED0C-A92D-9FF3-458CA0F563B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588" y="6217259"/>
            <a:ext cx="2660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prendr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0" name="Tableau 29">
            <a:extLst>
              <a:ext uri="{FF2B5EF4-FFF2-40B4-BE49-F238E27FC236}">
                <a16:creationId xmlns:a16="http://schemas.microsoft.com/office/drawing/2014/main" id="{A91B5385-EAC1-99AF-13C2-82D30EF12010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A3035F61-C50E-9164-13D7-9E392B843364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363573" y="3546342"/>
            <a:ext cx="1957680" cy="188485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0F178CB-6047-EFDB-1FD1-3A7AF68D4CA0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251205" y="3489437"/>
            <a:ext cx="2038686" cy="194176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EC0694E-228F-28C7-FA56-0E4B7B2E252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7197503" y="3293496"/>
            <a:ext cx="2114715" cy="213770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A8A4396-A484-6855-0BB0-B83F26CBC855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0192185" y="3546342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5419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27CAD-507C-3DB5-76AB-C68868819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A4CE698-0C70-3675-5BD0-C33A6A12CC2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86620" y="84146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F662D49C-C597-27A2-A21A-8D0758AEDFD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6895386A-0B91-8E6A-F5CC-3DCE4D6198A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chaque image, je vais désigner un élève pour dire le mot.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quel mot ? 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5720F7F-173A-1598-DE3C-D8A0E35F69F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72825" y="554302"/>
            <a:ext cx="2133930" cy="142331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8420A73-77C4-3968-E295-4A84359AF1C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4411304" y="4004849"/>
            <a:ext cx="2446696" cy="274647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90ABC81-F6DD-6604-3DCB-92EA6AA5699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675214" y="4122870"/>
            <a:ext cx="1896032" cy="251043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2A45239-0CDF-68F4-1660-98A8C47E8BD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7769686" y="4438452"/>
            <a:ext cx="1652447" cy="203180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1F855C7-6672-2F92-5AE3-02DE11DB6FA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476284" y="4452231"/>
            <a:ext cx="1579215" cy="1941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633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399FFA-3063-0285-D8AE-EB41ADC308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85E134A-8AB9-B02B-7186-6C698B5575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86620" y="84146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219E8AF-8031-21B0-D402-8E7E343A80F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66811" y="2748696"/>
            <a:ext cx="335901" cy="3699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B684449-6EEC-DE36-0A11-195A0C030B7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FE9AC180-9FEB-7026-73A0-61565806199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chaque image, je vais désigner un élève pour dire le mot.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quel mot ? 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00F9031-4DA1-C430-8CF2-668068827ED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72825" y="554302"/>
            <a:ext cx="2133930" cy="142331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E7646A9-4C72-4149-4437-17F12D95A3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374978" y="4327495"/>
            <a:ext cx="1957680" cy="188485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0A5295D9-755D-11EE-4E4B-71CF644C2DB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4262610" y="4270590"/>
            <a:ext cx="2038686" cy="194176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A19ED02-1D85-557A-2251-7323DF71F77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7208908" y="4074649"/>
            <a:ext cx="2114715" cy="213770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E263D08-2A5D-4C33-1753-54C468E13F12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0203590" y="4327495"/>
            <a:ext cx="2183673" cy="188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79589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87934-CAA7-87A8-46B4-64629D6F9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FAA4133-4890-98C6-43CD-A11B40CC8FC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673139D-7645-550B-BD9C-C092892E600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BC5B9F3-442B-2DCE-0806-82869AB97B2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02C5EEFB-70F1-5827-7A05-4F01E226E9A2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A2B25AED-2578-61DB-9969-B791F3D8DF8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28507A21-DC09-04E9-4D57-665FA43E25C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3425CAF-7D10-F0E5-774A-FC29FA2C9DDA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B31EDE3-D727-06C1-3A56-354850B946D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4" y="736911"/>
                  <a:ext cx="8763377" cy="253690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A61CD82-DB2E-5A6F-696C-A97D16437D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66838" y="72724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72D6534-EF35-D2B7-2D7C-AF79B992BF7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42265" y="620677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nez vos manuels à la page 27.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FD2188CF-947C-C9DD-463C-5380E3CDE0E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5227" y="620677"/>
            <a:ext cx="1331066" cy="1157762"/>
          </a:xfrm>
          <a:prstGeom prst="rect">
            <a:avLst/>
          </a:prstGeom>
          <a:ln w="19050">
            <a:noFill/>
          </a:ln>
          <a:effectLst/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361122B-1BE1-A2B2-47B7-ED6E37964C1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55241" y="1097868"/>
            <a:ext cx="923041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100" b="1" i="1" dirty="0">
                <a:solidFill>
                  <a:srgbClr val="FF0000"/>
                </a:solidFill>
                <a:latin typeface="Calibri"/>
              </a:rPr>
              <a:t>&gt;  Si les élèves ne disposent pas de manuels, passer à l’activité suivante (slide 60) 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1802849-C441-7AC3-F105-81CA53A5BD7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4517286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41ECFFD8-5C0F-3AA0-530C-2A1937AD6D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112972" y="1721441"/>
            <a:ext cx="5656384" cy="797345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DEB3FCF-2633-8297-BA90-5B1FC9241B9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36991" y="2786063"/>
            <a:ext cx="5815011" cy="23574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870051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526849-3C1D-417B-AB01-A21CC731F1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9B4E8CD-BEC7-4102-CF1E-D616776BE9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40A6D224-441F-FD4E-453E-4ECDEAC216B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E22396A-4290-7C40-2A90-C51E956E61A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BDB7CC-047B-DFA0-074D-48CFB0372802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2F971664-A43D-2AA0-5D4D-4ED7C32A7B33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B920A6EA-2668-F8A2-28B5-725233A3D95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FD2E093D-9914-A0CF-B587-0927963626C0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51D120D-B56A-6E17-38B1-2281B06693F4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918281F-B0AE-0484-B340-F9CBBF260A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D618DA0-2E82-7990-78A9-2556FECD422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2816" y="677515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vous montrer comment faire l’activité. 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" name="Image 4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F387A88C-A997-DF9E-1946-9E8933F1308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5120" y="3888013"/>
            <a:ext cx="4895859" cy="3614669"/>
          </a:xfrm>
          <a:prstGeom prst="rect">
            <a:avLst/>
          </a:prstGeom>
        </p:spPr>
      </p:pic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B5CE506C-E183-191F-4479-480A2844B03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43609" y="3456598"/>
            <a:ext cx="973392" cy="923966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32CD3C4D-132F-B2C7-6EA5-A72798597A1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H="1">
            <a:off x="8834283" y="3465002"/>
            <a:ext cx="973392" cy="983567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Afbeeldingen over Circle Font – Blader in stockfoto's, vectoren en video's  over 1,068,626 | Adobe Stock">
            <a:extLst>
              <a:ext uri="{FF2B5EF4-FFF2-40B4-BE49-F238E27FC236}">
                <a16:creationId xmlns:a16="http://schemas.microsoft.com/office/drawing/2014/main" id="{E9692C5A-D53D-ABB5-A192-4153C0D40E5B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2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1" t="12958" r="75238" b="50000"/>
          <a:stretch/>
        </p:blipFill>
        <p:spPr bwMode="auto">
          <a:xfrm>
            <a:off x="941479" y="2486110"/>
            <a:ext cx="969497" cy="8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fbeeldingen over Circle Font – Blader in stockfoto's, vectoren en video's  over 1,068,626 | Adobe Stock">
            <a:extLst>
              <a:ext uri="{FF2B5EF4-FFF2-40B4-BE49-F238E27FC236}">
                <a16:creationId xmlns:a16="http://schemas.microsoft.com/office/drawing/2014/main" id="{1320F66A-7AAC-5E27-6F5C-40E818A7D679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9" t="12958" r="59007" b="50000"/>
          <a:stretch/>
        </p:blipFill>
        <p:spPr bwMode="auto">
          <a:xfrm>
            <a:off x="7628935" y="2484065"/>
            <a:ext cx="874646" cy="8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Afbeeldingen over Circle Font – Blader in stockfoto's, vectoren en video's  over 1,068,626 | Adobe Stock">
            <a:extLst>
              <a:ext uri="{FF2B5EF4-FFF2-40B4-BE49-F238E27FC236}">
                <a16:creationId xmlns:a16="http://schemas.microsoft.com/office/drawing/2014/main" id="{9CF810B7-1B67-929D-A0FD-1DB06AAE1142}"/>
              </a:ext>
            </a:extLst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2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88" t="12958" r="41278" b="50000"/>
          <a:stretch/>
        </p:blipFill>
        <p:spPr bwMode="auto">
          <a:xfrm>
            <a:off x="4513217" y="7942850"/>
            <a:ext cx="874646" cy="83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DFE0FA34-2647-FE5A-BCCD-EBB9B08F69A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881062" y="2484065"/>
            <a:ext cx="3606921" cy="83388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fr-FR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mbria" panose="02040503050406030204" pitchFamily="18" charset="0"/>
              </a:rPr>
              <a:t>Je montre l’image.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D38E6F25-F40C-550B-3CF1-9527F159BD8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32294" y="2436306"/>
            <a:ext cx="3606921" cy="83388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fr-FR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mbria" panose="02040503050406030204" pitchFamily="18" charset="0"/>
              </a:rPr>
              <a:t>Je dis le mot.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6D20A895-513D-8ABC-4DF2-9CEF7C1B015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383155" y="7946358"/>
            <a:ext cx="3606921" cy="83388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fr-FR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mbria" panose="02040503050406030204" pitchFamily="18" charset="0"/>
              </a:rPr>
              <a:t>On échange les rôles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6BA0C41-70C6-EF49-75E6-417D4D1497A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3953" y="600007"/>
            <a:ext cx="1446339" cy="14426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C3E6EA87-1DA5-FF91-7F76-C4DEEFB0B4B6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255241" y="1097868"/>
            <a:ext cx="923041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100" b="1" i="1" dirty="0">
                <a:solidFill>
                  <a:srgbClr val="FF0000"/>
                </a:solidFill>
                <a:latin typeface="Calibri"/>
              </a:rPr>
              <a:t>&gt;  Si les élèves ne disposent pas de manuels, passer à l’activité suivante (slide 60) 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76D07743-908E-946A-2962-9838DD3C9BEA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54517286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21868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19CB1F-EB96-27B2-D078-EA9F7240C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44712B6-5EAD-FB70-878F-DAD00D76658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CA19588-1407-E14F-216A-6C18C8F534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12980" y="671386"/>
            <a:ext cx="91508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Maintenant, travaillez en binômes. Je vais circuler pour vous aider.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" name="Image 4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510AD80D-172B-FD33-CB30-6327F867B11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6080" y="779977"/>
            <a:ext cx="1598255" cy="118001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6D8D8528-6369-C16E-0DE6-B0E5660B6DF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55241" y="1097868"/>
            <a:ext cx="923041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100" b="1" i="1" dirty="0">
                <a:solidFill>
                  <a:srgbClr val="FF0000"/>
                </a:solidFill>
                <a:latin typeface="Calibri"/>
              </a:rPr>
              <a:t>&gt;  Si les élèves ne disposent pas de manuels, passer à l’activité suivante (slide 60)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E0512D10-87D6-716A-6D85-285AF377D2B8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54517286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>
                            <a:lumMod val="7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8E4EAC54-3F15-C04C-25E1-89E74ADAE18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475493" y="2836352"/>
            <a:ext cx="10765014" cy="53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95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F00A4-C9E7-B963-DC35-AD32A4834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A58ED713-5770-25AF-E905-3E9256D6BE9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EFF627B-A074-4DAA-5D97-B5D12AB34C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06720" y="2445969"/>
            <a:ext cx="9337697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: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syllabes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Vocabulair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vrir – fermer – entrer – sortir – courir – marcher – donner – prendre. 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Écoute active du dialogue</a:t>
            </a:r>
            <a:endParaRPr lang="fr-FR" sz="4200" b="1" dirty="0">
              <a:solidFill>
                <a:prstClr val="white">
                  <a:lumMod val="75000"/>
                </a:prst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Il y a quoi dans…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Dans … , il y a … 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2020D1C-2B7F-A41C-5870-E9BA360BB7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59FECA77-45D4-3071-9FA9-A5AF7BFE3F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E361803-BEBD-C67A-AE10-A95649074F6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29082" y="6167432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638CB5B-6ACE-5EF5-176E-FE34D353E96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1" y="703696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1</a:t>
            </a:r>
          </a:p>
        </p:txBody>
      </p:sp>
    </p:spTree>
    <p:extLst>
      <p:ext uri="{BB962C8B-B14F-4D97-AF65-F5344CB8AC3E}">
        <p14:creationId xmlns:p14="http://schemas.microsoft.com/office/powerpoint/2010/main" val="180280471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CF4E8-F953-DE67-A677-C660BB27C4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8766C203-8C16-6326-92D9-3817C04BE4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3E67E4C1-C145-C38C-D84E-082B7DE70F7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FB366A53-8CC4-2787-C164-A91FCF13571A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C05FEE7-0765-DF55-CF12-28E9DBF38DB8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A523E1D-12C5-2ABC-715F-51F21577D3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56747046-D61C-D736-04E7-B501FE99827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05B1860-BD57-80F6-4727-BD7D083EF3A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Pour l’enseignant</a:t>
            </a: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2874827-60DB-C4E8-DC68-FE3FA9AC5DA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1636" y="3572769"/>
            <a:ext cx="11752727" cy="4200876"/>
            <a:chOff x="1021947" y="3100970"/>
            <a:chExt cx="11752727" cy="3654320"/>
          </a:xfrm>
        </p:grpSpPr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F78451CE-B7ED-128B-2D3C-B990E73744BE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E1ADF79-9E04-9FB3-9A65-8F643B39C9D7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27" name="Image 26">
            <a:extLst>
              <a:ext uri="{FF2B5EF4-FFF2-40B4-BE49-F238E27FC236}">
                <a16:creationId xmlns:a16="http://schemas.microsoft.com/office/drawing/2014/main" id="{204A8D07-FA8F-5BB0-6555-544097EE6602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480250" y="4327858"/>
            <a:ext cx="504425" cy="549068"/>
          </a:xfrm>
          <a:prstGeom prst="rect">
            <a:avLst/>
          </a:prstGeom>
        </p:spPr>
      </p:pic>
      <p:sp>
        <p:nvSpPr>
          <p:cNvPr id="28" name="TextBox 10">
            <a:extLst>
              <a:ext uri="{FF2B5EF4-FFF2-40B4-BE49-F238E27FC236}">
                <a16:creationId xmlns:a16="http://schemas.microsoft.com/office/drawing/2014/main" id="{CF0FCC01-B93B-5C41-1CB2-CAC234BE94F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22019" y="4269267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1F497D"/>
                </a:solidFill>
                <a:latin typeface="Dosis" pitchFamily="2" charset="0"/>
              </a:rPr>
              <a:t>Écouter attentivement le dialogue de la semaine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74CD5C52-E781-109F-B096-DE643C67353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52873" y="4974418"/>
            <a:ext cx="8678662" cy="1038582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457200" marR="0" lvl="0" indent="-4572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l y a quoi dans… ?</a:t>
            </a:r>
          </a:p>
          <a:p>
            <a:pPr marL="457200" marR="0" lvl="0" indent="-4572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ans … , il y a … .</a:t>
            </a:r>
          </a:p>
        </p:txBody>
      </p:sp>
    </p:spTree>
    <p:extLst>
      <p:ext uri="{BB962C8B-B14F-4D97-AF65-F5344CB8AC3E}">
        <p14:creationId xmlns:p14="http://schemas.microsoft.com/office/powerpoint/2010/main" val="356688070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4DD41D1-CBD3-A388-722D-730911CECCD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9666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Voici Karim et Rita. Nous allons écouter leur dialogue. Soyez attentifs. 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51306BF-780B-9B37-9488-3F35F7A8AD5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51523495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03237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BD5EDE8-6793-21D0-F76F-29EC7639F06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72484090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Pd2_S3_s1_Dialogue">
            <a:hlinkClick r:id="" action="ppaction://media"/>
            <a:extLst>
              <a:ext uri="{FF2B5EF4-FFF2-40B4-BE49-F238E27FC236}">
                <a16:creationId xmlns:a16="http://schemas.microsoft.com/office/drawing/2014/main" id="{1A30DA89-A4D9-6D8E-1F84-5B7AD7D7CFD9}"/>
              </a:ext>
            </a:extLst>
          </p:cNvPr>
          <p:cNvPicPr>
            <a:picLocks noChangeAspect="1"/>
          </p:cNvPicPr>
          <p:nvPr>
            <a:audioFile r:link="rId11"/>
            <p:custDataLst>
              <p:tags r:id="rId12"/>
            </p:custDataLst>
            <p:extLst>
              <p:ext uri="{DAA4B4D4-6D71-4841-9C94-3DE7FCFB9230}">
                <p14:media xmlns:p14="http://schemas.microsoft.com/office/powerpoint/2010/main" r:embed="rId10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686728" y="812557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55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250"/>
                                  </p:stCondLst>
                                  <p:childTnLst>
                                    <p:set>
                                      <p:cBhvr>
                                        <p:cTn id="23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AE4A9EC-D4C3-6FE6-658E-B2660F9FAB7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68545263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955843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BD5EDE8-6793-21D0-F76F-29EC7639F06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Pd2_S3_s1_Dialogue">
            <a:hlinkClick r:id="" action="ppaction://media"/>
            <a:extLst>
              <a:ext uri="{FF2B5EF4-FFF2-40B4-BE49-F238E27FC236}">
                <a16:creationId xmlns:a16="http://schemas.microsoft.com/office/drawing/2014/main" id="{1A30DA89-A4D9-6D8E-1F84-5B7AD7D7CFD9}"/>
              </a:ext>
            </a:extLst>
          </p:cNvPr>
          <p:cNvPicPr>
            <a:picLocks noChangeAspect="1"/>
          </p:cNvPicPr>
          <p:nvPr>
            <a:audioFile r:link="rId11"/>
            <p:custDataLst>
              <p:tags r:id="rId12"/>
            </p:custDataLst>
            <p:extLst>
              <p:ext uri="{DAA4B4D4-6D71-4841-9C94-3DE7FCFB9230}">
                <p14:media xmlns:p14="http://schemas.microsoft.com/office/powerpoint/2010/main" r:embed="rId10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686728" y="812557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24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55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3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4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75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250"/>
                                  </p:stCondLst>
                                  <p:childTnLst>
                                    <p:set>
                                      <p:cBhvr>
                                        <p:cTn id="23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4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6440D-831A-0966-CFA7-CE565F151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8">
            <a:extLst>
              <a:ext uri="{FF2B5EF4-FFF2-40B4-BE49-F238E27FC236}">
                <a16:creationId xmlns:a16="http://schemas.microsoft.com/office/drawing/2014/main" id="{E0342925-82FB-650B-DD32-09AD2E48AB3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FD0CB41-3147-FD6F-0872-03AB19E4DC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22280" y="568487"/>
            <a:ext cx="926787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Karim a une trousse ?</a:t>
            </a:r>
          </a:p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?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7A7398B-8504-1A79-7B39-5B29AB6C0D3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005542" y="582878"/>
            <a:ext cx="2301213" cy="1534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04A300B-EE2B-96F4-1669-6453CB566E2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72484090"/>
              </p:ext>
            </p:ext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Acte de parole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3DAF61C5-27C1-5D58-8E2B-2309B5BCA8F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585" y="2956810"/>
            <a:ext cx="3556830" cy="437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49495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31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kumimoji="0" lang="en-GB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(استمارة موجهة للأساتذة)</a:t>
            </a:r>
            <a:endParaRPr kumimoji="0" lang="fr-FR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ولوج عبر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: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مسح رمز الاستجابة السريعة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(</a:t>
            </a:r>
            <a:r>
              <a:rPr kumimoji="0" lang="en-GB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Qr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code)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أو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0" y="5930679"/>
            <a:ext cx="675425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  <a:hlinkClick r:id="rId15"/>
              </a:rPr>
              <a:t>https://forms.gle/MPZzCzLAsK9AdG8x7</a:t>
            </a: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2">
      <a:majorFont>
        <a:latin typeface="Dosis"/>
        <a:ea typeface=""/>
        <a:cs typeface=""/>
      </a:majorFont>
      <a:minorFont>
        <a:latin typeface="Dos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25</TotalTime>
  <Words>1851</Words>
  <PresentationFormat>Personnalisé</PresentationFormat>
  <Paragraphs>379</Paragraphs>
  <Slides>70</Slides>
  <Notes>1</Notes>
  <HiddenSlides>0</HiddenSlides>
  <MMClips>5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0</vt:i4>
      </vt:variant>
    </vt:vector>
  </HeadingPairs>
  <TitlesOfParts>
    <vt:vector size="86" baseType="lpstr">
      <vt:lpstr>Carelia</vt:lpstr>
      <vt:lpstr>Arial</vt:lpstr>
      <vt:lpstr>Dosis</vt:lpstr>
      <vt:lpstr>Calibri</vt:lpstr>
      <vt:lpstr>Dosis Bold</vt:lpstr>
      <vt:lpstr>Cambria</vt:lpstr>
      <vt:lpstr>Montserrat</vt:lpstr>
      <vt:lpstr>Traditional Arabic</vt:lpstr>
      <vt:lpstr>KG Primary Penmanship 2</vt:lpstr>
      <vt:lpstr>Helvetica Neue Light</vt:lpstr>
      <vt:lpstr>1_Office Theme</vt:lpstr>
      <vt:lpstr>Office Theme</vt:lpstr>
      <vt:lpstr>2_Office Theme</vt:lpstr>
      <vt:lpstr>3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7T18:32:52Z</dcterms:modified>
</cp:coreProperties>
</file>